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3.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4.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5.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78.xml" ContentType="application/vnd.openxmlformats-officedocument.presentationml.tags+xml"/>
  <Override PartName="/ppt/notesSlides/notesSlide2.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3.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4.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5.xml" ContentType="application/vnd.openxmlformats-officedocument.presentationml.notesSlide+xml"/>
  <Override PartName="/ppt/tags/tag288.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bookmarkIdSeed="3">
  <p:sldMasterIdLst>
    <p:sldMasterId id="2147485117" r:id="rId4"/>
    <p:sldMasterId id="2147485185" r:id="rId5"/>
    <p:sldMasterId id="2147485253" r:id="rId6"/>
    <p:sldMasterId id="2147485323" r:id="rId7"/>
    <p:sldMasterId id="2147485391" r:id="rId8"/>
  </p:sldMasterIdLst>
  <p:notesMasterIdLst>
    <p:notesMasterId r:id="rId35"/>
  </p:notesMasterIdLst>
  <p:handoutMasterIdLst>
    <p:handoutMasterId r:id="rId36"/>
  </p:handoutMasterIdLst>
  <p:sldIdLst>
    <p:sldId id="568" r:id="rId9"/>
    <p:sldId id="2147483636" r:id="rId10"/>
    <p:sldId id="280" r:id="rId11"/>
    <p:sldId id="282" r:id="rId12"/>
    <p:sldId id="287" r:id="rId13"/>
    <p:sldId id="2147483641" r:id="rId14"/>
    <p:sldId id="281" r:id="rId15"/>
    <p:sldId id="283" r:id="rId16"/>
    <p:sldId id="288" r:id="rId17"/>
    <p:sldId id="274" r:id="rId18"/>
    <p:sldId id="284" r:id="rId19"/>
    <p:sldId id="286" r:id="rId20"/>
    <p:sldId id="289" r:id="rId21"/>
    <p:sldId id="262" r:id="rId22"/>
    <p:sldId id="290" r:id="rId23"/>
    <p:sldId id="291" r:id="rId24"/>
    <p:sldId id="285" r:id="rId25"/>
    <p:sldId id="293" r:id="rId26"/>
    <p:sldId id="292" r:id="rId27"/>
    <p:sldId id="2147483640" r:id="rId28"/>
    <p:sldId id="296" r:id="rId29"/>
    <p:sldId id="264" r:id="rId30"/>
    <p:sldId id="265" r:id="rId31"/>
    <p:sldId id="294" r:id="rId32"/>
    <p:sldId id="295" r:id="rId33"/>
    <p:sldId id="272" r:id="rId34"/>
  </p:sldIdLst>
  <p:sldSz cx="12192000" cy="6858000"/>
  <p:notesSz cx="6950075" cy="9236075"/>
  <p:custShowLst>
    <p:custShow name="Format Guide Workshop" id="0">
      <p:sldLst/>
    </p:custShow>
  </p:custShow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552C16-EDB4-4731-8B6E-4604D49C305B}">
          <p14:sldIdLst>
            <p14:sldId id="568"/>
            <p14:sldId id="2147483636"/>
            <p14:sldId id="280"/>
            <p14:sldId id="282"/>
            <p14:sldId id="287"/>
            <p14:sldId id="2147483641"/>
            <p14:sldId id="281"/>
            <p14:sldId id="283"/>
            <p14:sldId id="288"/>
            <p14:sldId id="274"/>
            <p14:sldId id="284"/>
            <p14:sldId id="286"/>
            <p14:sldId id="289"/>
            <p14:sldId id="262"/>
            <p14:sldId id="290"/>
            <p14:sldId id="291"/>
            <p14:sldId id="285"/>
            <p14:sldId id="293"/>
            <p14:sldId id="292"/>
            <p14:sldId id="2147483640"/>
            <p14:sldId id="296"/>
            <p14:sldId id="264"/>
            <p14:sldId id="265"/>
            <p14:sldId id="294"/>
            <p14:sldId id="295"/>
            <p14:sldId id="272"/>
          </p14:sldIdLst>
        </p14:section>
      </p14:sectionLst>
    </p:ex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A9EA05-D28F-2669-C6E6-499CC73C7C65}" name="Loic Menzies" initials="LM" userId="d4797216ef32cd4a" providerId="Windows Live"/>
  <p188:author id="{DE929E3C-0785-3221-9CFA-912458C23DC7}" name="Antony Mullen" initials="AM" userId="399c69be34fce794" providerId="Windows Live"/>
  <p188:author id="{C6DD234B-77B3-7673-7C91-93D461D57004}" name="Conor Carleton" initials="CC" userId="S::c.carleton@ippr.org::ecd89280-0393-4220-b380-2688589be40c" providerId="AD"/>
  <p188:author id="{01F8DA55-01DB-F368-0A0F-F844969B1DD3}" name="Patrick Wall" initials="PW" userId="c446ddc3219c88d7" providerId="Windows Live"/>
  <p188:author id="{2C0134B1-D9A4-E531-1FE4-42FDADD080C1}" name="Martin, Charlie" initials="MC" userId="S::Martin.Charlie@bcg.com::d6e9286d-59ad-4ec7-acce-9a4d8b00fb56" providerId="AD"/>
  <p188:author id="{783F2DC5-0589-E514-9844-A4AE88D43830}" name="Oyeleke, Iyiola" initials="OI" userId="Oyeleke, Iyiol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E63A"/>
    <a:srgbClr val="FF0000"/>
    <a:srgbClr val="DAF1F8"/>
    <a:srgbClr val="C8C8C8"/>
    <a:srgbClr val="A8DDEE"/>
    <a:srgbClr val="1DACE0"/>
    <a:srgbClr val="00B0F0"/>
    <a:srgbClr val="9FE6FF"/>
    <a:srgbClr val="D2EDF6"/>
    <a:srgbClr val="D1F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692E83-B17F-4819-BCBD-73843BD5A3E8}" v="622" dt="2026-03-19T11:23:34.3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178" autoAdjust="0"/>
    <p:restoredTop sz="94714"/>
  </p:normalViewPr>
  <p:slideViewPr>
    <p:cSldViewPr snapToGrid="0">
      <p:cViewPr>
        <p:scale>
          <a:sx n="78" d="100"/>
          <a:sy n="78" d="100"/>
        </p:scale>
        <p:origin x="312" y="968"/>
      </p:cViewPr>
      <p:guideLst>
        <p:guide orient="horz" pos="2184"/>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ic Menzies" userId="d4797216ef32cd4a" providerId="LiveId" clId="{290C7C4C-BA08-4733-B4F5-401BF5659341}"/>
    <pc:docChg chg="undo redo custSel addSld delSld modSld sldOrd modSection">
      <pc:chgData name="Loic Menzies" userId="d4797216ef32cd4a" providerId="LiveId" clId="{290C7C4C-BA08-4733-B4F5-401BF5659341}" dt="2026-03-19T11:23:56.970" v="4213" actId="20577"/>
      <pc:docMkLst>
        <pc:docMk/>
      </pc:docMkLst>
      <pc:sldChg chg="del">
        <pc:chgData name="Loic Menzies" userId="d4797216ef32cd4a" providerId="LiveId" clId="{290C7C4C-BA08-4733-B4F5-401BF5659341}" dt="2026-03-19T09:47:29.157" v="3499" actId="47"/>
        <pc:sldMkLst>
          <pc:docMk/>
          <pc:sldMk cId="1352304842" sldId="256"/>
        </pc:sldMkLst>
      </pc:sldChg>
      <pc:sldChg chg="del">
        <pc:chgData name="Loic Menzies" userId="d4797216ef32cd4a" providerId="LiveId" clId="{290C7C4C-BA08-4733-B4F5-401BF5659341}" dt="2026-03-19T09:47:29.157" v="3499" actId="47"/>
        <pc:sldMkLst>
          <pc:docMk/>
          <pc:sldMk cId="3886919513" sldId="257"/>
        </pc:sldMkLst>
      </pc:sldChg>
      <pc:sldChg chg="del">
        <pc:chgData name="Loic Menzies" userId="d4797216ef32cd4a" providerId="LiveId" clId="{290C7C4C-BA08-4733-B4F5-401BF5659341}" dt="2026-03-19T09:46:49.797" v="3497" actId="47"/>
        <pc:sldMkLst>
          <pc:docMk/>
          <pc:sldMk cId="3063693613" sldId="258"/>
        </pc:sldMkLst>
      </pc:sldChg>
      <pc:sldChg chg="del">
        <pc:chgData name="Loic Menzies" userId="d4797216ef32cd4a" providerId="LiveId" clId="{290C7C4C-BA08-4733-B4F5-401BF5659341}" dt="2026-03-19T09:47:29.157" v="3499" actId="47"/>
        <pc:sldMkLst>
          <pc:docMk/>
          <pc:sldMk cId="710016668" sldId="259"/>
        </pc:sldMkLst>
      </pc:sldChg>
      <pc:sldChg chg="del">
        <pc:chgData name="Loic Menzies" userId="d4797216ef32cd4a" providerId="LiveId" clId="{290C7C4C-BA08-4733-B4F5-401BF5659341}" dt="2026-03-19T09:47:29.157" v="3499" actId="47"/>
        <pc:sldMkLst>
          <pc:docMk/>
          <pc:sldMk cId="1063179331" sldId="260"/>
        </pc:sldMkLst>
      </pc:sldChg>
      <pc:sldChg chg="del">
        <pc:chgData name="Loic Menzies" userId="d4797216ef32cd4a" providerId="LiveId" clId="{290C7C4C-BA08-4733-B4F5-401BF5659341}" dt="2026-03-19T09:47:29.157" v="3499" actId="47"/>
        <pc:sldMkLst>
          <pc:docMk/>
          <pc:sldMk cId="2602920906" sldId="261"/>
        </pc:sldMkLst>
      </pc:sldChg>
      <pc:sldChg chg="addSp delSp modSp new mod">
        <pc:chgData name="Loic Menzies" userId="d4797216ef32cd4a" providerId="LiveId" clId="{290C7C4C-BA08-4733-B4F5-401BF5659341}" dt="2026-03-19T08:51:40.515" v="1494" actId="1037"/>
        <pc:sldMkLst>
          <pc:docMk/>
          <pc:sldMk cId="913419004" sldId="262"/>
        </pc:sldMkLst>
        <pc:spChg chg="del">
          <ac:chgData name="Loic Menzies" userId="d4797216ef32cd4a" providerId="LiveId" clId="{290C7C4C-BA08-4733-B4F5-401BF5659341}" dt="2026-03-19T08:45:23.291" v="1261" actId="478"/>
          <ac:spMkLst>
            <pc:docMk/>
            <pc:sldMk cId="913419004" sldId="262"/>
            <ac:spMk id="2" creationId="{0557EAAF-F672-CCAF-8AEB-A40321BF5A13}"/>
          </ac:spMkLst>
        </pc:spChg>
        <pc:spChg chg="mod">
          <ac:chgData name="Loic Menzies" userId="d4797216ef32cd4a" providerId="LiveId" clId="{290C7C4C-BA08-4733-B4F5-401BF5659341}" dt="2026-03-19T08:49:39.352" v="1433" actId="20577"/>
          <ac:spMkLst>
            <pc:docMk/>
            <pc:sldMk cId="913419004" sldId="262"/>
            <ac:spMk id="3" creationId="{7B5CB0D9-BB2E-9497-022E-16AA61BF0453}"/>
          </ac:spMkLst>
        </pc:spChg>
        <pc:spChg chg="add mod">
          <ac:chgData name="Loic Menzies" userId="d4797216ef32cd4a" providerId="LiveId" clId="{290C7C4C-BA08-4733-B4F5-401BF5659341}" dt="2026-03-19T08:45:17.688" v="1260"/>
          <ac:spMkLst>
            <pc:docMk/>
            <pc:sldMk cId="913419004" sldId="262"/>
            <ac:spMk id="7" creationId="{5F39549B-A411-5ACB-0185-C16B034E37BD}"/>
          </ac:spMkLst>
        </pc:spChg>
        <pc:spChg chg="add mod">
          <ac:chgData name="Loic Menzies" userId="d4797216ef32cd4a" providerId="LiveId" clId="{290C7C4C-BA08-4733-B4F5-401BF5659341}" dt="2026-03-19T08:50:55.642" v="1478" actId="14100"/>
          <ac:spMkLst>
            <pc:docMk/>
            <pc:sldMk cId="913419004" sldId="262"/>
            <ac:spMk id="10" creationId="{C34E1CD2-C370-FE39-28C5-8A56083C06EA}"/>
          </ac:spMkLst>
        </pc:spChg>
        <pc:spChg chg="mod">
          <ac:chgData name="Loic Menzies" userId="d4797216ef32cd4a" providerId="LiveId" clId="{290C7C4C-BA08-4733-B4F5-401BF5659341}" dt="2026-03-19T08:48:21.619" v="1356" actId="14100"/>
          <ac:spMkLst>
            <pc:docMk/>
            <pc:sldMk cId="913419004" sldId="262"/>
            <ac:spMk id="12" creationId="{654F398B-481C-1453-E279-ACB72036F849}"/>
          </ac:spMkLst>
        </pc:spChg>
        <pc:spChg chg="mod">
          <ac:chgData name="Loic Menzies" userId="d4797216ef32cd4a" providerId="LiveId" clId="{290C7C4C-BA08-4733-B4F5-401BF5659341}" dt="2026-03-19T08:48:21.619" v="1356" actId="14100"/>
          <ac:spMkLst>
            <pc:docMk/>
            <pc:sldMk cId="913419004" sldId="262"/>
            <ac:spMk id="13" creationId="{18FF5BCF-9268-0FDA-ECC7-0DFFBFFDBE1F}"/>
          </ac:spMkLst>
        </pc:spChg>
        <pc:spChg chg="mod">
          <ac:chgData name="Loic Menzies" userId="d4797216ef32cd4a" providerId="LiveId" clId="{290C7C4C-BA08-4733-B4F5-401BF5659341}" dt="2026-03-19T08:48:21.619" v="1356" actId="14100"/>
          <ac:spMkLst>
            <pc:docMk/>
            <pc:sldMk cId="913419004" sldId="262"/>
            <ac:spMk id="14" creationId="{BF28829C-923A-B3AB-72B0-6C15423DD588}"/>
          </ac:spMkLst>
        </pc:spChg>
        <pc:spChg chg="mod">
          <ac:chgData name="Loic Menzies" userId="d4797216ef32cd4a" providerId="LiveId" clId="{290C7C4C-BA08-4733-B4F5-401BF5659341}" dt="2026-03-19T08:47:58.710" v="1352" actId="1035"/>
          <ac:spMkLst>
            <pc:docMk/>
            <pc:sldMk cId="913419004" sldId="262"/>
            <ac:spMk id="16" creationId="{0F6D715E-BC21-2006-322C-F1C4398FCE9E}"/>
          </ac:spMkLst>
        </pc:spChg>
        <pc:spChg chg="mod">
          <ac:chgData name="Loic Menzies" userId="d4797216ef32cd4a" providerId="LiveId" clId="{290C7C4C-BA08-4733-B4F5-401BF5659341}" dt="2026-03-19T08:47:58.710" v="1352" actId="1035"/>
          <ac:spMkLst>
            <pc:docMk/>
            <pc:sldMk cId="913419004" sldId="262"/>
            <ac:spMk id="17" creationId="{BA7D1B04-E168-D4CD-F7D6-F4C75EA1FB4A}"/>
          </ac:spMkLst>
        </pc:spChg>
        <pc:spChg chg="mod">
          <ac:chgData name="Loic Menzies" userId="d4797216ef32cd4a" providerId="LiveId" clId="{290C7C4C-BA08-4733-B4F5-401BF5659341}" dt="2026-03-19T08:47:58.710" v="1352" actId="1035"/>
          <ac:spMkLst>
            <pc:docMk/>
            <pc:sldMk cId="913419004" sldId="262"/>
            <ac:spMk id="18" creationId="{83BA2BEF-5E47-E294-6EC1-DEB1809F8F6B}"/>
          </ac:spMkLst>
        </pc:spChg>
        <pc:spChg chg="mod">
          <ac:chgData name="Loic Menzies" userId="d4797216ef32cd4a" providerId="LiveId" clId="{290C7C4C-BA08-4733-B4F5-401BF5659341}" dt="2026-03-19T08:47:38.559" v="1340" actId="14100"/>
          <ac:spMkLst>
            <pc:docMk/>
            <pc:sldMk cId="913419004" sldId="262"/>
            <ac:spMk id="19" creationId="{ADE1224C-9F85-177E-0B80-9C27CBD1B427}"/>
          </ac:spMkLst>
        </pc:spChg>
        <pc:spChg chg="mod">
          <ac:chgData name="Loic Menzies" userId="d4797216ef32cd4a" providerId="LiveId" clId="{290C7C4C-BA08-4733-B4F5-401BF5659341}" dt="2026-03-19T08:51:26.493" v="1490" actId="1036"/>
          <ac:spMkLst>
            <pc:docMk/>
            <pc:sldMk cId="913419004" sldId="262"/>
            <ac:spMk id="22" creationId="{2BD5E97B-8832-C811-D9E5-62621B06005D}"/>
          </ac:spMkLst>
        </pc:spChg>
        <pc:spChg chg="mod">
          <ac:chgData name="Loic Menzies" userId="d4797216ef32cd4a" providerId="LiveId" clId="{290C7C4C-BA08-4733-B4F5-401BF5659341}" dt="2026-03-19T08:51:26.493" v="1490" actId="1036"/>
          <ac:spMkLst>
            <pc:docMk/>
            <pc:sldMk cId="913419004" sldId="262"/>
            <ac:spMk id="23" creationId="{7BACED45-1AC9-6ACE-F291-628715B6C278}"/>
          </ac:spMkLst>
        </pc:spChg>
        <pc:spChg chg="mod">
          <ac:chgData name="Loic Menzies" userId="d4797216ef32cd4a" providerId="LiveId" clId="{290C7C4C-BA08-4733-B4F5-401BF5659341}" dt="2026-03-19T08:51:04.076" v="1480" actId="14100"/>
          <ac:spMkLst>
            <pc:docMk/>
            <pc:sldMk cId="913419004" sldId="262"/>
            <ac:spMk id="26" creationId="{ECFA1092-3CDF-AE88-0C97-55690224F7C7}"/>
          </ac:spMkLst>
        </pc:spChg>
        <pc:spChg chg="mod">
          <ac:chgData name="Loic Menzies" userId="d4797216ef32cd4a" providerId="LiveId" clId="{290C7C4C-BA08-4733-B4F5-401BF5659341}" dt="2026-03-19T08:51:00.935" v="1479" actId="14100"/>
          <ac:spMkLst>
            <pc:docMk/>
            <pc:sldMk cId="913419004" sldId="262"/>
            <ac:spMk id="28" creationId="{FFF1B891-2763-0A15-DAE7-C8957DA0C768}"/>
          </ac:spMkLst>
        </pc:spChg>
        <pc:spChg chg="add mod">
          <ac:chgData name="Loic Menzies" userId="d4797216ef32cd4a" providerId="LiveId" clId="{290C7C4C-BA08-4733-B4F5-401BF5659341}" dt="2026-03-19T08:51:11.048" v="1488" actId="1038"/>
          <ac:spMkLst>
            <pc:docMk/>
            <pc:sldMk cId="913419004" sldId="262"/>
            <ac:spMk id="30" creationId="{FC8BDB20-2899-20E5-90F3-540DAE4D5216}"/>
          </ac:spMkLst>
        </pc:spChg>
        <pc:spChg chg="mod">
          <ac:chgData name="Loic Menzies" userId="d4797216ef32cd4a" providerId="LiveId" clId="{290C7C4C-BA08-4733-B4F5-401BF5659341}" dt="2026-03-19T08:47:06.354" v="1308" actId="1038"/>
          <ac:spMkLst>
            <pc:docMk/>
            <pc:sldMk cId="913419004" sldId="262"/>
            <ac:spMk id="34" creationId="{E7018938-7881-9941-68D1-B172926E6034}"/>
          </ac:spMkLst>
        </pc:spChg>
        <pc:spChg chg="add mod">
          <ac:chgData name="Loic Menzies" userId="d4797216ef32cd4a" providerId="LiveId" clId="{290C7C4C-BA08-4733-B4F5-401BF5659341}" dt="2026-03-19T08:45:17.688" v="1260"/>
          <ac:spMkLst>
            <pc:docMk/>
            <pc:sldMk cId="913419004" sldId="262"/>
            <ac:spMk id="35" creationId="{868F3A4F-90C9-8637-3B57-2C5498F25E29}"/>
          </ac:spMkLst>
        </pc:spChg>
        <pc:spChg chg="mod">
          <ac:chgData name="Loic Menzies" userId="d4797216ef32cd4a" providerId="LiveId" clId="{290C7C4C-BA08-4733-B4F5-401BF5659341}" dt="2026-03-19T08:47:13.870" v="1325" actId="1036"/>
          <ac:spMkLst>
            <pc:docMk/>
            <pc:sldMk cId="913419004" sldId="262"/>
            <ac:spMk id="36" creationId="{98785C58-5E72-F780-CA4C-F89615623C49}"/>
          </ac:spMkLst>
        </pc:spChg>
        <pc:spChg chg="add mod">
          <ac:chgData name="Loic Menzies" userId="d4797216ef32cd4a" providerId="LiveId" clId="{290C7C4C-BA08-4733-B4F5-401BF5659341}" dt="2026-03-19T08:45:17.688" v="1260"/>
          <ac:spMkLst>
            <pc:docMk/>
            <pc:sldMk cId="913419004" sldId="262"/>
            <ac:spMk id="37" creationId="{25645989-9670-E640-CC8D-DA49FF0AB6BD}"/>
          </ac:spMkLst>
        </pc:spChg>
        <pc:spChg chg="mod">
          <ac:chgData name="Loic Menzies" userId="d4797216ef32cd4a" providerId="LiveId" clId="{290C7C4C-BA08-4733-B4F5-401BF5659341}" dt="2026-03-19T08:47:30.219" v="1339" actId="1038"/>
          <ac:spMkLst>
            <pc:docMk/>
            <pc:sldMk cId="913419004" sldId="262"/>
            <ac:spMk id="38" creationId="{289199E3-0B27-58C8-4698-56AA84C45440}"/>
          </ac:spMkLst>
        </pc:spChg>
        <pc:spChg chg="mod">
          <ac:chgData name="Loic Menzies" userId="d4797216ef32cd4a" providerId="LiveId" clId="{290C7C4C-BA08-4733-B4F5-401BF5659341}" dt="2026-03-19T08:47:18.243" v="1330" actId="1037"/>
          <ac:spMkLst>
            <pc:docMk/>
            <pc:sldMk cId="913419004" sldId="262"/>
            <ac:spMk id="39" creationId="{880140B4-66C6-53BE-2984-5E3098DCFC86}"/>
          </ac:spMkLst>
        </pc:spChg>
        <pc:spChg chg="mod">
          <ac:chgData name="Loic Menzies" userId="d4797216ef32cd4a" providerId="LiveId" clId="{290C7C4C-BA08-4733-B4F5-401BF5659341}" dt="2026-03-19T08:50:34.532" v="1474" actId="1037"/>
          <ac:spMkLst>
            <pc:docMk/>
            <pc:sldMk cId="913419004" sldId="262"/>
            <ac:spMk id="41" creationId="{AF019613-4E50-D3A6-DCDC-5E6F08393463}"/>
          </ac:spMkLst>
        </pc:spChg>
        <pc:spChg chg="mod">
          <ac:chgData name="Loic Menzies" userId="d4797216ef32cd4a" providerId="LiveId" clId="{290C7C4C-BA08-4733-B4F5-401BF5659341}" dt="2026-03-19T08:50:34.532" v="1474" actId="1037"/>
          <ac:spMkLst>
            <pc:docMk/>
            <pc:sldMk cId="913419004" sldId="262"/>
            <ac:spMk id="42" creationId="{E2831DF6-29AC-0FC7-D0E0-643358FB84D8}"/>
          </ac:spMkLst>
        </pc:spChg>
        <pc:spChg chg="mod">
          <ac:chgData name="Loic Menzies" userId="d4797216ef32cd4a" providerId="LiveId" clId="{290C7C4C-BA08-4733-B4F5-401BF5659341}" dt="2026-03-19T08:50:34.532" v="1474" actId="1037"/>
          <ac:spMkLst>
            <pc:docMk/>
            <pc:sldMk cId="913419004" sldId="262"/>
            <ac:spMk id="44" creationId="{C7E9A253-C1BD-04B4-3E3C-6BC99E55DA12}"/>
          </ac:spMkLst>
        </pc:spChg>
        <pc:spChg chg="mod">
          <ac:chgData name="Loic Menzies" userId="d4797216ef32cd4a" providerId="LiveId" clId="{290C7C4C-BA08-4733-B4F5-401BF5659341}" dt="2026-03-19T08:51:11.048" v="1488" actId="1038"/>
          <ac:spMkLst>
            <pc:docMk/>
            <pc:sldMk cId="913419004" sldId="262"/>
            <ac:spMk id="46" creationId="{6275F3F3-ADF8-C3CE-A0B7-8CAEAE42D650}"/>
          </ac:spMkLst>
        </pc:spChg>
        <pc:spChg chg="mod">
          <ac:chgData name="Loic Menzies" userId="d4797216ef32cd4a" providerId="LiveId" clId="{290C7C4C-BA08-4733-B4F5-401BF5659341}" dt="2026-03-19T08:51:11.048" v="1488" actId="1038"/>
          <ac:spMkLst>
            <pc:docMk/>
            <pc:sldMk cId="913419004" sldId="262"/>
            <ac:spMk id="47" creationId="{9652A5C2-FC6F-2BC0-226C-11F17B5FC3C5}"/>
          </ac:spMkLst>
        </pc:spChg>
        <pc:spChg chg="mod">
          <ac:chgData name="Loic Menzies" userId="d4797216ef32cd4a" providerId="LiveId" clId="{290C7C4C-BA08-4733-B4F5-401BF5659341}" dt="2026-03-19T08:48:45.868" v="1369" actId="1035"/>
          <ac:spMkLst>
            <pc:docMk/>
            <pc:sldMk cId="913419004" sldId="262"/>
            <ac:spMk id="50" creationId="{731B3292-13FA-094B-242A-3E32A5588AC9}"/>
          </ac:spMkLst>
        </pc:spChg>
        <pc:spChg chg="mod">
          <ac:chgData name="Loic Menzies" userId="d4797216ef32cd4a" providerId="LiveId" clId="{290C7C4C-BA08-4733-B4F5-401BF5659341}" dt="2026-03-19T08:50:34.532" v="1474" actId="1037"/>
          <ac:spMkLst>
            <pc:docMk/>
            <pc:sldMk cId="913419004" sldId="262"/>
            <ac:spMk id="52" creationId="{5054E262-5636-F6A8-AF71-AD0C293D01CC}"/>
          </ac:spMkLst>
        </pc:spChg>
        <pc:spChg chg="mod">
          <ac:chgData name="Loic Menzies" userId="d4797216ef32cd4a" providerId="LiveId" clId="{290C7C4C-BA08-4733-B4F5-401BF5659341}" dt="2026-03-19T08:49:02.044" v="1377" actId="14100"/>
          <ac:spMkLst>
            <pc:docMk/>
            <pc:sldMk cId="913419004" sldId="262"/>
            <ac:spMk id="54" creationId="{4011BDBD-C364-06AA-A388-35A4E5088F2C}"/>
          </ac:spMkLst>
        </pc:spChg>
        <pc:spChg chg="mod">
          <ac:chgData name="Loic Menzies" userId="d4797216ef32cd4a" providerId="LiveId" clId="{290C7C4C-BA08-4733-B4F5-401BF5659341}" dt="2026-03-19T08:49:02.044" v="1377" actId="14100"/>
          <ac:spMkLst>
            <pc:docMk/>
            <pc:sldMk cId="913419004" sldId="262"/>
            <ac:spMk id="56" creationId="{7F6C8D85-26A7-75A7-B12E-DCA6240D2774}"/>
          </ac:spMkLst>
        </pc:spChg>
        <pc:spChg chg="mod">
          <ac:chgData name="Loic Menzies" userId="d4797216ef32cd4a" providerId="LiveId" clId="{290C7C4C-BA08-4733-B4F5-401BF5659341}" dt="2026-03-19T08:49:02.044" v="1377" actId="14100"/>
          <ac:spMkLst>
            <pc:docMk/>
            <pc:sldMk cId="913419004" sldId="262"/>
            <ac:spMk id="58" creationId="{8A3C61A8-4965-F95F-059E-E59A0E21AC20}"/>
          </ac:spMkLst>
        </pc:spChg>
        <pc:spChg chg="mod">
          <ac:chgData name="Loic Menzies" userId="d4797216ef32cd4a" providerId="LiveId" clId="{290C7C4C-BA08-4733-B4F5-401BF5659341}" dt="2026-03-19T08:49:02.044" v="1377" actId="14100"/>
          <ac:spMkLst>
            <pc:docMk/>
            <pc:sldMk cId="913419004" sldId="262"/>
            <ac:spMk id="59" creationId="{170BFF34-B0C7-1124-03AA-DA412D733E05}"/>
          </ac:spMkLst>
        </pc:spChg>
        <pc:spChg chg="mod">
          <ac:chgData name="Loic Menzies" userId="d4797216ef32cd4a" providerId="LiveId" clId="{290C7C4C-BA08-4733-B4F5-401BF5659341}" dt="2026-03-19T08:49:02.044" v="1377" actId="14100"/>
          <ac:spMkLst>
            <pc:docMk/>
            <pc:sldMk cId="913419004" sldId="262"/>
            <ac:spMk id="60" creationId="{E0FEC72A-C21A-B869-5DEF-464F4F1F7FF7}"/>
          </ac:spMkLst>
        </pc:spChg>
        <pc:spChg chg="mod">
          <ac:chgData name="Loic Menzies" userId="d4797216ef32cd4a" providerId="LiveId" clId="{290C7C4C-BA08-4733-B4F5-401BF5659341}" dt="2026-03-19T08:48:45.868" v="1369" actId="1035"/>
          <ac:spMkLst>
            <pc:docMk/>
            <pc:sldMk cId="913419004" sldId="262"/>
            <ac:spMk id="62" creationId="{16777CED-5838-55C6-A96A-7D60986F2B29}"/>
          </ac:spMkLst>
        </pc:spChg>
        <pc:spChg chg="mod">
          <ac:chgData name="Loic Menzies" userId="d4797216ef32cd4a" providerId="LiveId" clId="{290C7C4C-BA08-4733-B4F5-401BF5659341}" dt="2026-03-19T08:48:45.868" v="1369" actId="1035"/>
          <ac:spMkLst>
            <pc:docMk/>
            <pc:sldMk cId="913419004" sldId="262"/>
            <ac:spMk id="64" creationId="{DF9DC011-E2AB-F574-A63D-611BAD3F221B}"/>
          </ac:spMkLst>
        </pc:spChg>
        <pc:spChg chg="add mod">
          <ac:chgData name="Loic Menzies" userId="d4797216ef32cd4a" providerId="LiveId" clId="{290C7C4C-BA08-4733-B4F5-401BF5659341}" dt="2026-03-19T08:51:40.515" v="1494" actId="1037"/>
          <ac:spMkLst>
            <pc:docMk/>
            <pc:sldMk cId="913419004" sldId="262"/>
            <ac:spMk id="65" creationId="{BFCCBD91-85D1-310F-7D79-9980683B79FC}"/>
          </ac:spMkLst>
        </pc:spChg>
        <pc:spChg chg="mod">
          <ac:chgData name="Loic Menzies" userId="d4797216ef32cd4a" providerId="LiveId" clId="{290C7C4C-BA08-4733-B4F5-401BF5659341}" dt="2026-03-19T08:50:34.532" v="1474" actId="1037"/>
          <ac:spMkLst>
            <pc:docMk/>
            <pc:sldMk cId="913419004" sldId="262"/>
            <ac:spMk id="69" creationId="{B1A080AE-E836-FBC0-B0C3-FD60E350A5D9}"/>
          </ac:spMkLst>
        </pc:spChg>
        <pc:spChg chg="mod">
          <ac:chgData name="Loic Menzies" userId="d4797216ef32cd4a" providerId="LiveId" clId="{290C7C4C-BA08-4733-B4F5-401BF5659341}" dt="2026-03-19T08:50:34.532" v="1474" actId="1037"/>
          <ac:spMkLst>
            <pc:docMk/>
            <pc:sldMk cId="913419004" sldId="262"/>
            <ac:spMk id="73" creationId="{EFDDFAB2-484E-76BB-5E3D-46C7F9867BC9}"/>
          </ac:spMkLst>
        </pc:spChg>
        <pc:spChg chg="mod">
          <ac:chgData name="Loic Menzies" userId="d4797216ef32cd4a" providerId="LiveId" clId="{290C7C4C-BA08-4733-B4F5-401BF5659341}" dt="2026-03-19T08:50:34.532" v="1474" actId="1037"/>
          <ac:spMkLst>
            <pc:docMk/>
            <pc:sldMk cId="913419004" sldId="262"/>
            <ac:spMk id="77" creationId="{78B030B8-68A5-06E3-D66D-9CF3C569DB55}"/>
          </ac:spMkLst>
        </pc:spChg>
        <pc:spChg chg="add mod">
          <ac:chgData name="Loic Menzies" userId="d4797216ef32cd4a" providerId="LiveId" clId="{290C7C4C-BA08-4733-B4F5-401BF5659341}" dt="2026-03-19T08:45:17.688" v="1260"/>
          <ac:spMkLst>
            <pc:docMk/>
            <pc:sldMk cId="913419004" sldId="262"/>
            <ac:spMk id="78" creationId="{BFEE86F7-8626-579F-70C6-4640A5DCF4ED}"/>
          </ac:spMkLst>
        </pc:spChg>
        <pc:spChg chg="mod">
          <ac:chgData name="Loic Menzies" userId="d4797216ef32cd4a" providerId="LiveId" clId="{290C7C4C-BA08-4733-B4F5-401BF5659341}" dt="2026-03-19T08:51:11.048" v="1488" actId="1038"/>
          <ac:spMkLst>
            <pc:docMk/>
            <pc:sldMk cId="913419004" sldId="262"/>
            <ac:spMk id="79" creationId="{92ACAC75-59F6-BB09-BABB-5C4966905747}"/>
          </ac:spMkLst>
        </pc:spChg>
        <pc:spChg chg="add del ord">
          <ac:chgData name="Loic Menzies" userId="d4797216ef32cd4a" providerId="LiveId" clId="{290C7C4C-BA08-4733-B4F5-401BF5659341}" dt="2026-03-19T08:46:28.990" v="1266" actId="11529"/>
          <ac:spMkLst>
            <pc:docMk/>
            <pc:sldMk cId="913419004" sldId="262"/>
            <ac:spMk id="81" creationId="{BCD40495-8CAC-8436-16C0-A701E1C4A132}"/>
          </ac:spMkLst>
        </pc:spChg>
        <pc:grpChg chg="mod">
          <ac:chgData name="Loic Menzies" userId="d4797216ef32cd4a" providerId="LiveId" clId="{290C7C4C-BA08-4733-B4F5-401BF5659341}" dt="2026-03-19T08:48:21.619" v="1356" actId="14100"/>
          <ac:grpSpMkLst>
            <pc:docMk/>
            <pc:sldMk cId="913419004" sldId="262"/>
            <ac:grpSpMk id="11" creationId="{D8288C77-5D8A-12A1-D8DD-C714462F59E8}"/>
          </ac:grpSpMkLst>
        </pc:grpChg>
        <pc:grpChg chg="mod">
          <ac:chgData name="Loic Menzies" userId="d4797216ef32cd4a" providerId="LiveId" clId="{290C7C4C-BA08-4733-B4F5-401BF5659341}" dt="2026-03-19T08:47:58.710" v="1352" actId="1035"/>
          <ac:grpSpMkLst>
            <pc:docMk/>
            <pc:sldMk cId="913419004" sldId="262"/>
            <ac:grpSpMk id="15" creationId="{AE17C571-4F2D-DF91-79E7-8FC9A7F5546F}"/>
          </ac:grpSpMkLst>
        </pc:grpChg>
        <pc:grpChg chg="mod">
          <ac:chgData name="Loic Menzies" userId="d4797216ef32cd4a" providerId="LiveId" clId="{290C7C4C-BA08-4733-B4F5-401BF5659341}" dt="2026-03-19T08:49:02.044" v="1377" actId="14100"/>
          <ac:grpSpMkLst>
            <pc:docMk/>
            <pc:sldMk cId="913419004" sldId="262"/>
            <ac:grpSpMk id="51" creationId="{54F2B7E2-21F1-BFB0-00A5-E75A319B15E3}"/>
          </ac:grpSpMkLst>
        </pc:grpChg>
        <pc:grpChg chg="mod">
          <ac:chgData name="Loic Menzies" userId="d4797216ef32cd4a" providerId="LiveId" clId="{290C7C4C-BA08-4733-B4F5-401BF5659341}" dt="2026-03-19T08:49:02.044" v="1377" actId="14100"/>
          <ac:grpSpMkLst>
            <pc:docMk/>
            <pc:sldMk cId="913419004" sldId="262"/>
            <ac:grpSpMk id="53" creationId="{649A5A49-098F-984F-2CC2-EAB408F072F4}"/>
          </ac:grpSpMkLst>
        </pc:grpChg>
        <pc:grpChg chg="mod">
          <ac:chgData name="Loic Menzies" userId="d4797216ef32cd4a" providerId="LiveId" clId="{290C7C4C-BA08-4733-B4F5-401BF5659341}" dt="2026-03-19T08:49:02.044" v="1377" actId="14100"/>
          <ac:grpSpMkLst>
            <pc:docMk/>
            <pc:sldMk cId="913419004" sldId="262"/>
            <ac:grpSpMk id="55" creationId="{787DEA95-F306-F3B8-837F-B45040B68324}"/>
          </ac:grpSpMkLst>
        </pc:grpChg>
        <pc:grpChg chg="mod">
          <ac:chgData name="Loic Menzies" userId="d4797216ef32cd4a" providerId="LiveId" clId="{290C7C4C-BA08-4733-B4F5-401BF5659341}" dt="2026-03-19T08:49:02.044" v="1377" actId="14100"/>
          <ac:grpSpMkLst>
            <pc:docMk/>
            <pc:sldMk cId="913419004" sldId="262"/>
            <ac:grpSpMk id="57" creationId="{C634E682-4791-2B17-154F-26C350BC1AC0}"/>
          </ac:grpSpMkLst>
        </pc:grpChg>
        <pc:cxnChg chg="mod">
          <ac:chgData name="Loic Menzies" userId="d4797216ef32cd4a" providerId="LiveId" clId="{290C7C4C-BA08-4733-B4F5-401BF5659341}" dt="2026-03-19T08:48:21.619" v="1356" actId="14100"/>
          <ac:cxnSpMkLst>
            <pc:docMk/>
            <pc:sldMk cId="913419004" sldId="262"/>
            <ac:cxnSpMk id="32" creationId="{31414B6B-3600-D3E1-3830-A683367284A3}"/>
          </ac:cxnSpMkLst>
        </pc:cxnChg>
        <pc:cxnChg chg="mod">
          <ac:chgData name="Loic Menzies" userId="d4797216ef32cd4a" providerId="LiveId" clId="{290C7C4C-BA08-4733-B4F5-401BF5659341}" dt="2026-03-19T08:48:21.619" v="1356" actId="14100"/>
          <ac:cxnSpMkLst>
            <pc:docMk/>
            <pc:sldMk cId="913419004" sldId="262"/>
            <ac:cxnSpMk id="33" creationId="{301797C2-C15E-FCDE-E321-0A0CEEC68A94}"/>
          </ac:cxnSpMkLst>
        </pc:cxnChg>
        <pc:cxnChg chg="mod">
          <ac:chgData name="Loic Menzies" userId="d4797216ef32cd4a" providerId="LiveId" clId="{290C7C4C-BA08-4733-B4F5-401BF5659341}" dt="2026-03-19T08:48:55.006" v="1375" actId="1036"/>
          <ac:cxnSpMkLst>
            <pc:docMk/>
            <pc:sldMk cId="913419004" sldId="262"/>
            <ac:cxnSpMk id="66" creationId="{1C88D977-86D4-4872-F53B-7F57418621F1}"/>
          </ac:cxnSpMkLst>
        </pc:cxnChg>
      </pc:sldChg>
      <pc:sldChg chg="delSp modSp add del mod">
        <pc:chgData name="Loic Menzies" userId="d4797216ef32cd4a" providerId="LiveId" clId="{290C7C4C-BA08-4733-B4F5-401BF5659341}" dt="2026-03-19T08:32:02.986" v="1258" actId="47"/>
        <pc:sldMkLst>
          <pc:docMk/>
          <pc:sldMk cId="2477407066" sldId="262"/>
        </pc:sldMkLst>
        <pc:spChg chg="mod">
          <ac:chgData name="Loic Menzies" userId="d4797216ef32cd4a" providerId="LiveId" clId="{290C7C4C-BA08-4733-B4F5-401BF5659341}" dt="2026-03-19T08:31:41.128" v="1256" actId="20577"/>
          <ac:spMkLst>
            <pc:docMk/>
            <pc:sldMk cId="2477407066" sldId="262"/>
            <ac:spMk id="2" creationId="{2932FE24-F8B4-64B8-E084-50D2B7523FB3}"/>
          </ac:spMkLst>
        </pc:spChg>
        <pc:grpChg chg="del">
          <ac:chgData name="Loic Menzies" userId="d4797216ef32cd4a" providerId="LiveId" clId="{290C7C4C-BA08-4733-B4F5-401BF5659341}" dt="2026-03-19T08:31:45.045" v="1257" actId="478"/>
          <ac:grpSpMkLst>
            <pc:docMk/>
            <pc:sldMk cId="2477407066" sldId="262"/>
            <ac:grpSpMk id="16" creationId="{D9E92B82-1F3B-1906-8E2B-F2D5795B7C07}"/>
          </ac:grpSpMkLst>
        </pc:grpChg>
      </pc:sldChg>
      <pc:sldChg chg="del">
        <pc:chgData name="Loic Menzies" userId="d4797216ef32cd4a" providerId="LiveId" clId="{290C7C4C-BA08-4733-B4F5-401BF5659341}" dt="2026-03-19T08:31:18.866" v="1226" actId="2696"/>
        <pc:sldMkLst>
          <pc:docMk/>
          <pc:sldMk cId="3117173959" sldId="262"/>
        </pc:sldMkLst>
      </pc:sldChg>
      <pc:sldChg chg="del">
        <pc:chgData name="Loic Menzies" userId="d4797216ef32cd4a" providerId="LiveId" clId="{290C7C4C-BA08-4733-B4F5-401BF5659341}" dt="2026-03-19T09:47:05.983" v="3498" actId="47"/>
        <pc:sldMkLst>
          <pc:docMk/>
          <pc:sldMk cId="2453677382" sldId="263"/>
        </pc:sldMkLst>
      </pc:sldChg>
      <pc:sldChg chg="del">
        <pc:chgData name="Loic Menzies" userId="d4797216ef32cd4a" providerId="LiveId" clId="{290C7C4C-BA08-4733-B4F5-401BF5659341}" dt="2026-03-19T09:41:06.304" v="3307" actId="2696"/>
        <pc:sldMkLst>
          <pc:docMk/>
          <pc:sldMk cId="853706175" sldId="264"/>
        </pc:sldMkLst>
      </pc:sldChg>
      <pc:sldChg chg="delSp modSp add mod">
        <pc:chgData name="Loic Menzies" userId="d4797216ef32cd4a" providerId="LiveId" clId="{290C7C4C-BA08-4733-B4F5-401BF5659341}" dt="2026-03-19T09:43:43.446" v="3496" actId="1036"/>
        <pc:sldMkLst>
          <pc:docMk/>
          <pc:sldMk cId="1218669572" sldId="264"/>
        </pc:sldMkLst>
        <pc:spChg chg="mod">
          <ac:chgData name="Loic Menzies" userId="d4797216ef32cd4a" providerId="LiveId" clId="{290C7C4C-BA08-4733-B4F5-401BF5659341}" dt="2026-03-19T09:43:43.446" v="3496" actId="1036"/>
          <ac:spMkLst>
            <pc:docMk/>
            <pc:sldMk cId="1218669572" sldId="264"/>
            <ac:spMk id="2" creationId="{0769171F-E4E8-2761-7206-78929E73C8C7}"/>
          </ac:spMkLst>
        </pc:spChg>
        <pc:spChg chg="del">
          <ac:chgData name="Loic Menzies" userId="d4797216ef32cd4a" providerId="LiveId" clId="{290C7C4C-BA08-4733-B4F5-401BF5659341}" dt="2026-03-19T09:43:38.357" v="3491" actId="478"/>
          <ac:spMkLst>
            <pc:docMk/>
            <pc:sldMk cId="1218669572" sldId="264"/>
            <ac:spMk id="19" creationId="{1F41ABE4-60CC-106F-A9E6-38D3EBAC0331}"/>
          </ac:spMkLst>
        </pc:spChg>
        <pc:spChg chg="mod">
          <ac:chgData name="Loic Menzies" userId="d4797216ef32cd4a" providerId="LiveId" clId="{290C7C4C-BA08-4733-B4F5-401BF5659341}" dt="2026-03-19T09:41:42.953" v="3337" actId="20577"/>
          <ac:spMkLst>
            <pc:docMk/>
            <pc:sldMk cId="1218669572" sldId="264"/>
            <ac:spMk id="34" creationId="{374B75E1-71C4-7D70-DED3-11642E7027A1}"/>
          </ac:spMkLst>
        </pc:spChg>
        <pc:spChg chg="del">
          <ac:chgData name="Loic Menzies" userId="d4797216ef32cd4a" providerId="LiveId" clId="{290C7C4C-BA08-4733-B4F5-401BF5659341}" dt="2026-03-19T09:41:22.637" v="3309" actId="478"/>
          <ac:spMkLst>
            <pc:docMk/>
            <pc:sldMk cId="1218669572" sldId="264"/>
            <ac:spMk id="71" creationId="{F42A1A06-FF34-89D4-D6D6-6400C708EEC4}"/>
          </ac:spMkLst>
        </pc:spChg>
        <pc:spChg chg="del">
          <ac:chgData name="Loic Menzies" userId="d4797216ef32cd4a" providerId="LiveId" clId="{290C7C4C-BA08-4733-B4F5-401BF5659341}" dt="2026-03-19T09:41:25.337" v="3310" actId="478"/>
          <ac:spMkLst>
            <pc:docMk/>
            <pc:sldMk cId="1218669572" sldId="264"/>
            <ac:spMk id="72" creationId="{2EB2BEED-422F-3EC0-1B92-018EBA81C73A}"/>
          </ac:spMkLst>
        </pc:spChg>
      </pc:sldChg>
      <pc:sldChg chg="del">
        <pc:chgData name="Loic Menzies" userId="d4797216ef32cd4a" providerId="LiveId" clId="{290C7C4C-BA08-4733-B4F5-401BF5659341}" dt="2026-03-19T09:41:06.304" v="3307" actId="2696"/>
        <pc:sldMkLst>
          <pc:docMk/>
          <pc:sldMk cId="77553871" sldId="265"/>
        </pc:sldMkLst>
      </pc:sldChg>
      <pc:sldChg chg="delSp modSp add mod">
        <pc:chgData name="Loic Menzies" userId="d4797216ef32cd4a" providerId="LiveId" clId="{290C7C4C-BA08-4733-B4F5-401BF5659341}" dt="2026-03-19T09:43:31.929" v="3490" actId="478"/>
        <pc:sldMkLst>
          <pc:docMk/>
          <pc:sldMk cId="704837968" sldId="265"/>
        </pc:sldMkLst>
        <pc:spChg chg="mod">
          <ac:chgData name="Loic Menzies" userId="d4797216ef32cd4a" providerId="LiveId" clId="{290C7C4C-BA08-4733-B4F5-401BF5659341}" dt="2026-03-19T09:43:23.804" v="3482" actId="1035"/>
          <ac:spMkLst>
            <pc:docMk/>
            <pc:sldMk cId="704837968" sldId="265"/>
            <ac:spMk id="2" creationId="{11830889-5BD8-3557-65A5-093DA1AF538E}"/>
          </ac:spMkLst>
        </pc:spChg>
        <pc:spChg chg="del">
          <ac:chgData name="Loic Menzies" userId="d4797216ef32cd4a" providerId="LiveId" clId="{290C7C4C-BA08-4733-B4F5-401BF5659341}" dt="2026-03-19T09:43:31.929" v="3490" actId="478"/>
          <ac:spMkLst>
            <pc:docMk/>
            <pc:sldMk cId="704837968" sldId="265"/>
            <ac:spMk id="5" creationId="{373989E9-A79F-EF1F-FAEE-EC871AFCBD67}"/>
          </ac:spMkLst>
        </pc:spChg>
        <pc:spChg chg="mod">
          <ac:chgData name="Loic Menzies" userId="d4797216ef32cd4a" providerId="LiveId" clId="{290C7C4C-BA08-4733-B4F5-401BF5659341}" dt="2026-03-19T09:43:29.285" v="3489" actId="20577"/>
          <ac:spMkLst>
            <pc:docMk/>
            <pc:sldMk cId="704837968" sldId="265"/>
            <ac:spMk id="26" creationId="{66E95FA4-E72A-67B7-AD1B-1F695F35A25B}"/>
          </ac:spMkLst>
        </pc:spChg>
        <pc:spChg chg="del">
          <ac:chgData name="Loic Menzies" userId="d4797216ef32cd4a" providerId="LiveId" clId="{290C7C4C-BA08-4733-B4F5-401BF5659341}" dt="2026-03-19T09:43:15.310" v="3469" actId="478"/>
          <ac:spMkLst>
            <pc:docMk/>
            <pc:sldMk cId="704837968" sldId="265"/>
            <ac:spMk id="85" creationId="{C65A7834-73D2-1BD4-CE3D-08A9B17B1898}"/>
          </ac:spMkLst>
        </pc:spChg>
        <pc:spChg chg="del">
          <ac:chgData name="Loic Menzies" userId="d4797216ef32cd4a" providerId="LiveId" clId="{290C7C4C-BA08-4733-B4F5-401BF5659341}" dt="2026-03-19T09:43:18.775" v="3470" actId="478"/>
          <ac:spMkLst>
            <pc:docMk/>
            <pc:sldMk cId="704837968" sldId="265"/>
            <ac:spMk id="86" creationId="{3919E1D2-2A35-A52F-2D68-F33E0ECAA670}"/>
          </ac:spMkLst>
        </pc:spChg>
      </pc:sldChg>
      <pc:sldChg chg="del">
        <pc:chgData name="Loic Menzies" userId="d4797216ef32cd4a" providerId="LiveId" clId="{290C7C4C-BA08-4733-B4F5-401BF5659341}" dt="2026-03-19T09:47:29.157" v="3499" actId="47"/>
        <pc:sldMkLst>
          <pc:docMk/>
          <pc:sldMk cId="3449593805" sldId="266"/>
        </pc:sldMkLst>
      </pc:sldChg>
      <pc:sldChg chg="del">
        <pc:chgData name="Loic Menzies" userId="d4797216ef32cd4a" providerId="LiveId" clId="{290C7C4C-BA08-4733-B4F5-401BF5659341}" dt="2026-03-19T09:38:58.985" v="3228" actId="47"/>
        <pc:sldMkLst>
          <pc:docMk/>
          <pc:sldMk cId="392173956" sldId="267"/>
        </pc:sldMkLst>
      </pc:sldChg>
      <pc:sldChg chg="del">
        <pc:chgData name="Loic Menzies" userId="d4797216ef32cd4a" providerId="LiveId" clId="{290C7C4C-BA08-4733-B4F5-401BF5659341}" dt="2026-03-19T09:47:29.157" v="3499" actId="47"/>
        <pc:sldMkLst>
          <pc:docMk/>
          <pc:sldMk cId="2059398626" sldId="268"/>
        </pc:sldMkLst>
      </pc:sldChg>
      <pc:sldChg chg="del">
        <pc:chgData name="Loic Menzies" userId="d4797216ef32cd4a" providerId="LiveId" clId="{290C7C4C-BA08-4733-B4F5-401BF5659341}" dt="2026-03-19T09:38:58.985" v="3228" actId="47"/>
        <pc:sldMkLst>
          <pc:docMk/>
          <pc:sldMk cId="1509209115" sldId="269"/>
        </pc:sldMkLst>
      </pc:sldChg>
      <pc:sldChg chg="del">
        <pc:chgData name="Loic Menzies" userId="d4797216ef32cd4a" providerId="LiveId" clId="{290C7C4C-BA08-4733-B4F5-401BF5659341}" dt="2026-03-19T09:47:29.157" v="3499" actId="47"/>
        <pc:sldMkLst>
          <pc:docMk/>
          <pc:sldMk cId="3297517762" sldId="270"/>
        </pc:sldMkLst>
      </pc:sldChg>
      <pc:sldChg chg="del">
        <pc:chgData name="Loic Menzies" userId="d4797216ef32cd4a" providerId="LiveId" clId="{290C7C4C-BA08-4733-B4F5-401BF5659341}" dt="2026-03-19T09:47:29.157" v="3499" actId="47"/>
        <pc:sldMkLst>
          <pc:docMk/>
          <pc:sldMk cId="3862663837" sldId="271"/>
        </pc:sldMkLst>
      </pc:sldChg>
      <pc:sldChg chg="modSp mod">
        <pc:chgData name="Loic Menzies" userId="d4797216ef32cd4a" providerId="LiveId" clId="{290C7C4C-BA08-4733-B4F5-401BF5659341}" dt="2026-03-19T11:23:34.341" v="4212" actId="1036"/>
        <pc:sldMkLst>
          <pc:docMk/>
          <pc:sldMk cId="1904393655" sldId="272"/>
        </pc:sldMkLst>
        <pc:spChg chg="mod">
          <ac:chgData name="Loic Menzies" userId="d4797216ef32cd4a" providerId="LiveId" clId="{290C7C4C-BA08-4733-B4F5-401BF5659341}" dt="2026-03-19T11:23:23.316" v="4148" actId="1035"/>
          <ac:spMkLst>
            <pc:docMk/>
            <pc:sldMk cId="1904393655" sldId="272"/>
            <ac:spMk id="5" creationId="{C81B0BE6-8185-8D7D-8E3A-E1AA21D6AFE3}"/>
          </ac:spMkLst>
        </pc:spChg>
        <pc:picChg chg="mod">
          <ac:chgData name="Loic Menzies" userId="d4797216ef32cd4a" providerId="LiveId" clId="{290C7C4C-BA08-4733-B4F5-401BF5659341}" dt="2026-03-19T11:23:34.341" v="4212" actId="1036"/>
          <ac:picMkLst>
            <pc:docMk/>
            <pc:sldMk cId="1904393655" sldId="272"/>
            <ac:picMk id="1030" creationId="{C3181DFD-AD7B-7DD6-3EED-63C3C6FE1605}"/>
          </ac:picMkLst>
        </pc:picChg>
        <pc:picChg chg="mod">
          <ac:chgData name="Loic Menzies" userId="d4797216ef32cd4a" providerId="LiveId" clId="{290C7C4C-BA08-4733-B4F5-401BF5659341}" dt="2026-03-19T11:23:34.341" v="4212" actId="1036"/>
          <ac:picMkLst>
            <pc:docMk/>
            <pc:sldMk cId="1904393655" sldId="272"/>
            <ac:picMk id="1032" creationId="{9C1230E4-C3F8-3B8F-54FC-3BD8DFCAD101}"/>
          </ac:picMkLst>
        </pc:picChg>
      </pc:sldChg>
      <pc:sldChg chg="del">
        <pc:chgData name="Loic Menzies" userId="d4797216ef32cd4a" providerId="LiveId" clId="{290C7C4C-BA08-4733-B4F5-401BF5659341}" dt="2026-03-19T09:47:29.157" v="3499" actId="47"/>
        <pc:sldMkLst>
          <pc:docMk/>
          <pc:sldMk cId="3475715242" sldId="273"/>
        </pc:sldMkLst>
      </pc:sldChg>
      <pc:sldChg chg="modSp del mod">
        <pc:chgData name="Loic Menzies" userId="d4797216ef32cd4a" providerId="LiveId" clId="{290C7C4C-BA08-4733-B4F5-401BF5659341}" dt="2026-03-19T09:41:04.010" v="3306" actId="47"/>
        <pc:sldMkLst>
          <pc:docMk/>
          <pc:sldMk cId="384310907" sldId="275"/>
        </pc:sldMkLst>
        <pc:picChg chg="mod">
          <ac:chgData name="Loic Menzies" userId="d4797216ef32cd4a" providerId="LiveId" clId="{290C7C4C-BA08-4733-B4F5-401BF5659341}" dt="2026-03-19T09:11:30.310" v="2280" actId="1076"/>
          <ac:picMkLst>
            <pc:docMk/>
            <pc:sldMk cId="384310907" sldId="275"/>
            <ac:picMk id="69" creationId="{6EF5C836-D45A-4659-B75D-E4A02665B2D3}"/>
          </ac:picMkLst>
        </pc:picChg>
      </pc:sldChg>
      <pc:sldChg chg="del">
        <pc:chgData name="Loic Menzies" userId="d4797216ef32cd4a" providerId="LiveId" clId="{290C7C4C-BA08-4733-B4F5-401BF5659341}" dt="2026-03-19T09:38:58.985" v="3228" actId="47"/>
        <pc:sldMkLst>
          <pc:docMk/>
          <pc:sldMk cId="1482556807" sldId="276"/>
        </pc:sldMkLst>
      </pc:sldChg>
      <pc:sldChg chg="del">
        <pc:chgData name="Loic Menzies" userId="d4797216ef32cd4a" providerId="LiveId" clId="{290C7C4C-BA08-4733-B4F5-401BF5659341}" dt="2026-03-19T09:46:49.797" v="3497" actId="47"/>
        <pc:sldMkLst>
          <pc:docMk/>
          <pc:sldMk cId="332568080" sldId="277"/>
        </pc:sldMkLst>
      </pc:sldChg>
      <pc:sldChg chg="del">
        <pc:chgData name="Loic Menzies" userId="d4797216ef32cd4a" providerId="LiveId" clId="{290C7C4C-BA08-4733-B4F5-401BF5659341}" dt="2026-03-19T09:46:49.797" v="3497" actId="47"/>
        <pc:sldMkLst>
          <pc:docMk/>
          <pc:sldMk cId="2609259306" sldId="278"/>
        </pc:sldMkLst>
      </pc:sldChg>
      <pc:sldChg chg="del">
        <pc:chgData name="Loic Menzies" userId="d4797216ef32cd4a" providerId="LiveId" clId="{290C7C4C-BA08-4733-B4F5-401BF5659341}" dt="2026-03-19T09:46:49.797" v="3497" actId="47"/>
        <pc:sldMkLst>
          <pc:docMk/>
          <pc:sldMk cId="1498736799" sldId="279"/>
        </pc:sldMkLst>
      </pc:sldChg>
      <pc:sldChg chg="modSp add del mod">
        <pc:chgData name="Loic Menzies" userId="d4797216ef32cd4a" providerId="LiveId" clId="{290C7C4C-BA08-4733-B4F5-401BF5659341}" dt="2026-03-19T08:14:18.360" v="589" actId="2696"/>
        <pc:sldMkLst>
          <pc:docMk/>
          <pc:sldMk cId="2071005092" sldId="280"/>
        </pc:sldMkLst>
        <pc:spChg chg="mod">
          <ac:chgData name="Loic Menzies" userId="d4797216ef32cd4a" providerId="LiveId" clId="{290C7C4C-BA08-4733-B4F5-401BF5659341}" dt="2026-03-19T08:12:39.163" v="524" actId="6549"/>
          <ac:spMkLst>
            <pc:docMk/>
            <pc:sldMk cId="2071005092" sldId="280"/>
            <ac:spMk id="2" creationId="{5752EDFF-1361-143A-22D1-3DC71524CE60}"/>
          </ac:spMkLst>
        </pc:spChg>
        <pc:spChg chg="mod">
          <ac:chgData name="Loic Menzies" userId="d4797216ef32cd4a" providerId="LiveId" clId="{290C7C4C-BA08-4733-B4F5-401BF5659341}" dt="2026-03-19T08:13:02.516" v="562" actId="1038"/>
          <ac:spMkLst>
            <pc:docMk/>
            <pc:sldMk cId="2071005092" sldId="280"/>
            <ac:spMk id="3" creationId="{FA0F08E9-9646-466B-D314-EDAA14823AFB}"/>
          </ac:spMkLst>
        </pc:spChg>
      </pc:sldChg>
      <pc:sldChg chg="modSp add mod ord">
        <pc:chgData name="Loic Menzies" userId="d4797216ef32cd4a" providerId="LiveId" clId="{290C7C4C-BA08-4733-B4F5-401BF5659341}" dt="2026-03-19T11:23:56.970" v="4213" actId="20577"/>
        <pc:sldMkLst>
          <pc:docMk/>
          <pc:sldMk cId="3919636451" sldId="280"/>
        </pc:sldMkLst>
        <pc:spChg chg="mod">
          <ac:chgData name="Loic Menzies" userId="d4797216ef32cd4a" providerId="LiveId" clId="{290C7C4C-BA08-4733-B4F5-401BF5659341}" dt="2026-03-19T11:08:05.414" v="3514" actId="20577"/>
          <ac:spMkLst>
            <pc:docMk/>
            <pc:sldMk cId="3919636451" sldId="280"/>
            <ac:spMk id="2" creationId="{5752EDFF-1361-143A-22D1-3DC71524CE60}"/>
          </ac:spMkLst>
        </pc:spChg>
        <pc:spChg chg="mod">
          <ac:chgData name="Loic Menzies" userId="d4797216ef32cd4a" providerId="LiveId" clId="{290C7C4C-BA08-4733-B4F5-401BF5659341}" dt="2026-03-19T11:23:56.970" v="4213" actId="20577"/>
          <ac:spMkLst>
            <pc:docMk/>
            <pc:sldMk cId="3919636451" sldId="280"/>
            <ac:spMk id="3" creationId="{FA0F08E9-9646-466B-D314-EDAA14823AFB}"/>
          </ac:spMkLst>
        </pc:spChg>
      </pc:sldChg>
      <pc:sldChg chg="addSp modSp add mod">
        <pc:chgData name="Loic Menzies" userId="d4797216ef32cd4a" providerId="LiveId" clId="{290C7C4C-BA08-4733-B4F5-401BF5659341}" dt="2026-03-19T11:09:17.800" v="3590" actId="20577"/>
        <pc:sldMkLst>
          <pc:docMk/>
          <pc:sldMk cId="3962034667" sldId="281"/>
        </pc:sldMkLst>
        <pc:spChg chg="mod">
          <ac:chgData name="Loic Menzies" userId="d4797216ef32cd4a" providerId="LiveId" clId="{290C7C4C-BA08-4733-B4F5-401BF5659341}" dt="2026-03-19T08:16:52.060" v="648" actId="20577"/>
          <ac:spMkLst>
            <pc:docMk/>
            <pc:sldMk cId="3962034667" sldId="281"/>
            <ac:spMk id="2" creationId="{3DB71B19-9898-DAA7-E121-9C519183F460}"/>
          </ac:spMkLst>
        </pc:spChg>
        <pc:spChg chg="mod">
          <ac:chgData name="Loic Menzies" userId="d4797216ef32cd4a" providerId="LiveId" clId="{290C7C4C-BA08-4733-B4F5-401BF5659341}" dt="2026-03-19T11:09:17.800" v="3590" actId="20577"/>
          <ac:spMkLst>
            <pc:docMk/>
            <pc:sldMk cId="3962034667" sldId="281"/>
            <ac:spMk id="3" creationId="{78B51FEF-AC7A-FB7E-D312-E5D56C969212}"/>
          </ac:spMkLst>
        </pc:spChg>
        <pc:spChg chg="add mod">
          <ac:chgData name="Loic Menzies" userId="d4797216ef32cd4a" providerId="LiveId" clId="{290C7C4C-BA08-4733-B4F5-401BF5659341}" dt="2026-03-19T08:16:32.386" v="629" actId="1076"/>
          <ac:spMkLst>
            <pc:docMk/>
            <pc:sldMk cId="3962034667" sldId="281"/>
            <ac:spMk id="4" creationId="{178BBA9E-E7F9-A3C7-F9BD-06B5CA5B28D2}"/>
          </ac:spMkLst>
        </pc:spChg>
      </pc:sldChg>
      <pc:sldChg chg="modSp add mod">
        <pc:chgData name="Loic Menzies" userId="d4797216ef32cd4a" providerId="LiveId" clId="{290C7C4C-BA08-4733-B4F5-401BF5659341}" dt="2026-03-19T08:17:28.327" v="666" actId="20577"/>
        <pc:sldMkLst>
          <pc:docMk/>
          <pc:sldMk cId="1685183871" sldId="282"/>
        </pc:sldMkLst>
        <pc:spChg chg="mod">
          <ac:chgData name="Loic Menzies" userId="d4797216ef32cd4a" providerId="LiveId" clId="{290C7C4C-BA08-4733-B4F5-401BF5659341}" dt="2026-03-19T08:17:28.327" v="666" actId="20577"/>
          <ac:spMkLst>
            <pc:docMk/>
            <pc:sldMk cId="1685183871" sldId="282"/>
            <ac:spMk id="2" creationId="{21072469-A503-EB4D-61AD-D87F99315EC5}"/>
          </ac:spMkLst>
        </pc:spChg>
      </pc:sldChg>
      <pc:sldChg chg="modSp add mod">
        <pc:chgData name="Loic Menzies" userId="d4797216ef32cd4a" providerId="LiveId" clId="{290C7C4C-BA08-4733-B4F5-401BF5659341}" dt="2026-03-19T08:17:54.019" v="670" actId="20577"/>
        <pc:sldMkLst>
          <pc:docMk/>
          <pc:sldMk cId="1911553358" sldId="283"/>
        </pc:sldMkLst>
        <pc:spChg chg="mod">
          <ac:chgData name="Loic Menzies" userId="d4797216ef32cd4a" providerId="LiveId" clId="{290C7C4C-BA08-4733-B4F5-401BF5659341}" dt="2026-03-19T08:17:54.019" v="670" actId="20577"/>
          <ac:spMkLst>
            <pc:docMk/>
            <pc:sldMk cId="1911553358" sldId="283"/>
            <ac:spMk id="2" creationId="{225BF211-553E-F881-3FF0-F1A64B1F203C}"/>
          </ac:spMkLst>
        </pc:spChg>
      </pc:sldChg>
      <pc:sldChg chg="add del">
        <pc:chgData name="Loic Menzies" userId="d4797216ef32cd4a" providerId="LiveId" clId="{290C7C4C-BA08-4733-B4F5-401BF5659341}" dt="2026-03-19T08:18:29.296" v="672"/>
        <pc:sldMkLst>
          <pc:docMk/>
          <pc:sldMk cId="47354375" sldId="284"/>
        </pc:sldMkLst>
      </pc:sldChg>
      <pc:sldChg chg="delSp modSp add mod">
        <pc:chgData name="Loic Menzies" userId="d4797216ef32cd4a" providerId="LiveId" clId="{290C7C4C-BA08-4733-B4F5-401BF5659341}" dt="2026-03-19T08:50:10.023" v="1459" actId="14100"/>
        <pc:sldMkLst>
          <pc:docMk/>
          <pc:sldMk cId="1611373334" sldId="284"/>
        </pc:sldMkLst>
        <pc:spChg chg="mod">
          <ac:chgData name="Loic Menzies" userId="d4797216ef32cd4a" providerId="LiveId" clId="{290C7C4C-BA08-4733-B4F5-401BF5659341}" dt="2026-03-19T08:50:10.023" v="1459" actId="14100"/>
          <ac:spMkLst>
            <pc:docMk/>
            <pc:sldMk cId="1611373334" sldId="284"/>
            <ac:spMk id="2" creationId="{FE393829-48C3-E6D4-C3EB-6FB168A97BEA}"/>
          </ac:spMkLst>
        </pc:spChg>
        <pc:grpChg chg="del">
          <ac:chgData name="Loic Menzies" userId="d4797216ef32cd4a" providerId="LiveId" clId="{290C7C4C-BA08-4733-B4F5-401BF5659341}" dt="2026-03-19T08:19:01.956" v="691" actId="478"/>
          <ac:grpSpMkLst>
            <pc:docMk/>
            <pc:sldMk cId="1611373334" sldId="284"/>
            <ac:grpSpMk id="53" creationId="{E0EBDFEE-F3FA-D555-972D-C1568A07CD39}"/>
          </ac:grpSpMkLst>
        </pc:grpChg>
      </pc:sldChg>
      <pc:sldChg chg="addSp delSp modSp add mod">
        <pc:chgData name="Loic Menzies" userId="d4797216ef32cd4a" providerId="LiveId" clId="{290C7C4C-BA08-4733-B4F5-401BF5659341}" dt="2026-03-19T09:23:18.499" v="2953" actId="1035"/>
        <pc:sldMkLst>
          <pc:docMk/>
          <pc:sldMk cId="2985327015" sldId="285"/>
        </pc:sldMkLst>
        <pc:spChg chg="mod">
          <ac:chgData name="Loic Menzies" userId="d4797216ef32cd4a" providerId="LiveId" clId="{290C7C4C-BA08-4733-B4F5-401BF5659341}" dt="2026-03-19T09:23:18.499" v="2953" actId="1035"/>
          <ac:spMkLst>
            <pc:docMk/>
            <pc:sldMk cId="2985327015" sldId="285"/>
            <ac:spMk id="2" creationId="{676DBAD2-79BC-3652-670C-326B5BE65C02}"/>
          </ac:spMkLst>
        </pc:spChg>
        <pc:spChg chg="del">
          <ac:chgData name="Loic Menzies" userId="d4797216ef32cd4a" providerId="LiveId" clId="{290C7C4C-BA08-4733-B4F5-401BF5659341}" dt="2026-03-19T09:22:50.390" v="2928" actId="478"/>
          <ac:spMkLst>
            <pc:docMk/>
            <pc:sldMk cId="2985327015" sldId="285"/>
            <ac:spMk id="14" creationId="{72640BFE-AC68-894C-B1C1-E5648EC64033}"/>
          </ac:spMkLst>
        </pc:spChg>
        <pc:spChg chg="del">
          <ac:chgData name="Loic Menzies" userId="d4797216ef32cd4a" providerId="LiveId" clId="{290C7C4C-BA08-4733-B4F5-401BF5659341}" dt="2026-03-19T09:22:50.390" v="2928" actId="478"/>
          <ac:spMkLst>
            <pc:docMk/>
            <pc:sldMk cId="2985327015" sldId="285"/>
            <ac:spMk id="18" creationId="{BE0C0CB9-9A0F-1310-BDDF-2FDA44BFD4F4}"/>
          </ac:spMkLst>
        </pc:spChg>
        <pc:spChg chg="del">
          <ac:chgData name="Loic Menzies" userId="d4797216ef32cd4a" providerId="LiveId" clId="{290C7C4C-BA08-4733-B4F5-401BF5659341}" dt="2026-03-19T09:22:50.390" v="2928" actId="478"/>
          <ac:spMkLst>
            <pc:docMk/>
            <pc:sldMk cId="2985327015" sldId="285"/>
            <ac:spMk id="28" creationId="{56A8D69D-A398-2FCD-C8BC-4E12D6CCDDAA}"/>
          </ac:spMkLst>
        </pc:spChg>
        <pc:spChg chg="del">
          <ac:chgData name="Loic Menzies" userId="d4797216ef32cd4a" providerId="LiveId" clId="{290C7C4C-BA08-4733-B4F5-401BF5659341}" dt="2026-03-19T09:22:50.390" v="2928" actId="478"/>
          <ac:spMkLst>
            <pc:docMk/>
            <pc:sldMk cId="2985327015" sldId="285"/>
            <ac:spMk id="34" creationId="{1645D9A6-D94E-DC12-2A05-CD198A9D9E66}"/>
          </ac:spMkLst>
        </pc:spChg>
        <pc:spChg chg="del">
          <ac:chgData name="Loic Menzies" userId="d4797216ef32cd4a" providerId="LiveId" clId="{290C7C4C-BA08-4733-B4F5-401BF5659341}" dt="2026-03-19T09:22:50.390" v="2928" actId="478"/>
          <ac:spMkLst>
            <pc:docMk/>
            <pc:sldMk cId="2985327015" sldId="285"/>
            <ac:spMk id="36" creationId="{ECB02C72-F650-939A-9D37-DBF4B0FE44AF}"/>
          </ac:spMkLst>
        </pc:spChg>
        <pc:spChg chg="del">
          <ac:chgData name="Loic Menzies" userId="d4797216ef32cd4a" providerId="LiveId" clId="{290C7C4C-BA08-4733-B4F5-401BF5659341}" dt="2026-03-19T09:22:50.390" v="2928" actId="478"/>
          <ac:spMkLst>
            <pc:docMk/>
            <pc:sldMk cId="2985327015" sldId="285"/>
            <ac:spMk id="38" creationId="{F67F339B-1014-D3E8-E009-C7CE08EA717D}"/>
          </ac:spMkLst>
        </pc:spChg>
        <pc:spChg chg="del">
          <ac:chgData name="Loic Menzies" userId="d4797216ef32cd4a" providerId="LiveId" clId="{290C7C4C-BA08-4733-B4F5-401BF5659341}" dt="2026-03-19T09:22:50.390" v="2928" actId="478"/>
          <ac:spMkLst>
            <pc:docMk/>
            <pc:sldMk cId="2985327015" sldId="285"/>
            <ac:spMk id="48" creationId="{41A266CC-C839-B057-5091-96D7FBC35AD9}"/>
          </ac:spMkLst>
        </pc:spChg>
        <pc:spChg chg="del">
          <ac:chgData name="Loic Menzies" userId="d4797216ef32cd4a" providerId="LiveId" clId="{290C7C4C-BA08-4733-B4F5-401BF5659341}" dt="2026-03-19T09:22:50.390" v="2928" actId="478"/>
          <ac:spMkLst>
            <pc:docMk/>
            <pc:sldMk cId="2985327015" sldId="285"/>
            <ac:spMk id="60" creationId="{834E08F3-3C57-E294-4058-41BF83F8FD4F}"/>
          </ac:spMkLst>
        </pc:spChg>
        <pc:spChg chg="del">
          <ac:chgData name="Loic Menzies" userId="d4797216ef32cd4a" providerId="LiveId" clId="{290C7C4C-BA08-4733-B4F5-401BF5659341}" dt="2026-03-19T09:22:50.390" v="2928" actId="478"/>
          <ac:spMkLst>
            <pc:docMk/>
            <pc:sldMk cId="2985327015" sldId="285"/>
            <ac:spMk id="62" creationId="{67F081C0-3645-553A-B410-CC3A74E53EFE}"/>
          </ac:spMkLst>
        </pc:spChg>
        <pc:spChg chg="del">
          <ac:chgData name="Loic Menzies" userId="d4797216ef32cd4a" providerId="LiveId" clId="{290C7C4C-BA08-4733-B4F5-401BF5659341}" dt="2026-03-19T09:22:50.390" v="2928" actId="478"/>
          <ac:spMkLst>
            <pc:docMk/>
            <pc:sldMk cId="2985327015" sldId="285"/>
            <ac:spMk id="74" creationId="{269AF28E-AB11-6DD6-3AEF-4E28FD55D4BC}"/>
          </ac:spMkLst>
        </pc:spChg>
        <pc:picChg chg="add mod">
          <ac:chgData name="Loic Menzies" userId="d4797216ef32cd4a" providerId="LiveId" clId="{290C7C4C-BA08-4733-B4F5-401BF5659341}" dt="2026-03-19T09:23:03.526" v="2947" actId="1038"/>
          <ac:picMkLst>
            <pc:docMk/>
            <pc:sldMk cId="2985327015" sldId="285"/>
            <ac:picMk id="3" creationId="{7D0BF494-04DF-8DA8-5885-8E376312B2F9}"/>
          </ac:picMkLst>
        </pc:picChg>
      </pc:sldChg>
      <pc:sldChg chg="modSp new del mod">
        <pc:chgData name="Loic Menzies" userId="d4797216ef32cd4a" providerId="LiveId" clId="{290C7C4C-BA08-4733-B4F5-401BF5659341}" dt="2026-03-19T08:26:50.222" v="1015" actId="47"/>
        <pc:sldMkLst>
          <pc:docMk/>
          <pc:sldMk cId="2662052662" sldId="286"/>
        </pc:sldMkLst>
        <pc:spChg chg="mod">
          <ac:chgData name="Loic Menzies" userId="d4797216ef32cd4a" providerId="LiveId" clId="{290C7C4C-BA08-4733-B4F5-401BF5659341}" dt="2026-03-19T08:23:08.545" v="764" actId="20577"/>
          <ac:spMkLst>
            <pc:docMk/>
            <pc:sldMk cId="2662052662" sldId="286"/>
            <ac:spMk id="2" creationId="{790B6138-C860-04AC-4602-EC6FD065E615}"/>
          </ac:spMkLst>
        </pc:spChg>
      </pc:sldChg>
      <pc:sldChg chg="addSp delSp modSp add mod">
        <pc:chgData name="Loic Menzies" userId="d4797216ef32cd4a" providerId="LiveId" clId="{290C7C4C-BA08-4733-B4F5-401BF5659341}" dt="2026-03-19T09:05:05.263" v="1796" actId="1036"/>
        <pc:sldMkLst>
          <pc:docMk/>
          <pc:sldMk cId="3066067859" sldId="286"/>
        </pc:sldMkLst>
        <pc:spChg chg="mod">
          <ac:chgData name="Loic Menzies" userId="d4797216ef32cd4a" providerId="LiveId" clId="{290C7C4C-BA08-4733-B4F5-401BF5659341}" dt="2026-03-19T09:01:59.897" v="1571" actId="1036"/>
          <ac:spMkLst>
            <pc:docMk/>
            <pc:sldMk cId="3066067859" sldId="286"/>
            <ac:spMk id="2" creationId="{124BE4EA-1ACD-DFED-6B83-97A43CF6305D}"/>
          </ac:spMkLst>
        </pc:spChg>
        <pc:spChg chg="add mod">
          <ac:chgData name="Loic Menzies" userId="d4797216ef32cd4a" providerId="LiveId" clId="{290C7C4C-BA08-4733-B4F5-401BF5659341}" dt="2026-03-19T09:03:32.087" v="1716"/>
          <ac:spMkLst>
            <pc:docMk/>
            <pc:sldMk cId="3066067859" sldId="286"/>
            <ac:spMk id="9" creationId="{8C5F0301-BCD5-B4A6-BF06-0D24F5A3053E}"/>
          </ac:spMkLst>
        </pc:spChg>
        <pc:spChg chg="del">
          <ac:chgData name="Loic Menzies" userId="d4797216ef32cd4a" providerId="LiveId" clId="{290C7C4C-BA08-4733-B4F5-401BF5659341}" dt="2026-03-19T09:02:24.665" v="1596" actId="478"/>
          <ac:spMkLst>
            <pc:docMk/>
            <pc:sldMk cId="3066067859" sldId="286"/>
            <ac:spMk id="10" creationId="{980CCCCD-BAA2-0BDE-F63E-52E89ABA24A4}"/>
          </ac:spMkLst>
        </pc:spChg>
        <pc:spChg chg="add mod">
          <ac:chgData name="Loic Menzies" userId="d4797216ef32cd4a" providerId="LiveId" clId="{290C7C4C-BA08-4733-B4F5-401BF5659341}" dt="2026-03-19T09:03:43.095" v="1732"/>
          <ac:spMkLst>
            <pc:docMk/>
            <pc:sldMk cId="3066067859" sldId="286"/>
            <ac:spMk id="13" creationId="{047DB82E-816F-8682-2177-943AE907397D}"/>
          </ac:spMkLst>
        </pc:spChg>
        <pc:spChg chg="mod">
          <ac:chgData name="Loic Menzies" userId="d4797216ef32cd4a" providerId="LiveId" clId="{290C7C4C-BA08-4733-B4F5-401BF5659341}" dt="2026-03-19T09:02:12.270" v="1594" actId="1036"/>
          <ac:spMkLst>
            <pc:docMk/>
            <pc:sldMk cId="3066067859" sldId="286"/>
            <ac:spMk id="18" creationId="{63D5D717-38E5-DEE4-3F1A-71EE683C071B}"/>
          </ac:spMkLst>
        </pc:spChg>
        <pc:spChg chg="mod">
          <ac:chgData name="Loic Menzies" userId="d4797216ef32cd4a" providerId="LiveId" clId="{290C7C4C-BA08-4733-B4F5-401BF5659341}" dt="2026-03-19T09:02:12.270" v="1594" actId="1036"/>
          <ac:spMkLst>
            <pc:docMk/>
            <pc:sldMk cId="3066067859" sldId="286"/>
            <ac:spMk id="19" creationId="{D0CDAD69-5BED-BC2A-70E7-986E77AE69A4}"/>
          </ac:spMkLst>
        </pc:spChg>
        <pc:spChg chg="mod">
          <ac:chgData name="Loic Menzies" userId="d4797216ef32cd4a" providerId="LiveId" clId="{290C7C4C-BA08-4733-B4F5-401BF5659341}" dt="2026-03-19T09:02:46.894" v="1642" actId="403"/>
          <ac:spMkLst>
            <pc:docMk/>
            <pc:sldMk cId="3066067859" sldId="286"/>
            <ac:spMk id="21" creationId="{F140393C-2D5F-C160-8FFE-2695A64195E2}"/>
          </ac:spMkLst>
        </pc:spChg>
        <pc:spChg chg="mod">
          <ac:chgData name="Loic Menzies" userId="d4797216ef32cd4a" providerId="LiveId" clId="{290C7C4C-BA08-4733-B4F5-401BF5659341}" dt="2026-03-19T09:04:11.488" v="1759" actId="1036"/>
          <ac:spMkLst>
            <pc:docMk/>
            <pc:sldMk cId="3066067859" sldId="286"/>
            <ac:spMk id="23" creationId="{0D401880-4DDF-DB1A-2A24-0A303F7BE075}"/>
          </ac:spMkLst>
        </pc:spChg>
        <pc:spChg chg="mod">
          <ac:chgData name="Loic Menzies" userId="d4797216ef32cd4a" providerId="LiveId" clId="{290C7C4C-BA08-4733-B4F5-401BF5659341}" dt="2026-03-19T09:04:25.144" v="1772" actId="1035"/>
          <ac:spMkLst>
            <pc:docMk/>
            <pc:sldMk cId="3066067859" sldId="286"/>
            <ac:spMk id="27" creationId="{26055A07-E490-1B68-75FD-CDA7F9AA5C1C}"/>
          </ac:spMkLst>
        </pc:spChg>
        <pc:spChg chg="del mod">
          <ac:chgData name="Loic Menzies" userId="d4797216ef32cd4a" providerId="LiveId" clId="{290C7C4C-BA08-4733-B4F5-401BF5659341}" dt="2026-03-19T09:03:27.210" v="1703" actId="21"/>
          <ac:spMkLst>
            <pc:docMk/>
            <pc:sldMk cId="3066067859" sldId="286"/>
            <ac:spMk id="33" creationId="{8C5F0301-BCD5-B4A6-BF06-0D24F5A3053E}"/>
          </ac:spMkLst>
        </pc:spChg>
        <pc:spChg chg="del mod">
          <ac:chgData name="Loic Menzies" userId="d4797216ef32cd4a" providerId="LiveId" clId="{290C7C4C-BA08-4733-B4F5-401BF5659341}" dt="2026-03-19T09:03:36.887" v="1717" actId="21"/>
          <ac:spMkLst>
            <pc:docMk/>
            <pc:sldMk cId="3066067859" sldId="286"/>
            <ac:spMk id="34" creationId="{047DB82E-816F-8682-2177-943AE907397D}"/>
          </ac:spMkLst>
        </pc:spChg>
        <pc:spChg chg="mod">
          <ac:chgData name="Loic Menzies" userId="d4797216ef32cd4a" providerId="LiveId" clId="{290C7C4C-BA08-4733-B4F5-401BF5659341}" dt="2026-03-19T09:03:41.938" v="1731" actId="1035"/>
          <ac:spMkLst>
            <pc:docMk/>
            <pc:sldMk cId="3066067859" sldId="286"/>
            <ac:spMk id="46" creationId="{9BF52171-A31C-D6E9-202A-A81A764A44E2}"/>
          </ac:spMkLst>
        </pc:spChg>
        <pc:spChg chg="mod">
          <ac:chgData name="Loic Menzies" userId="d4797216ef32cd4a" providerId="LiveId" clId="{290C7C4C-BA08-4733-B4F5-401BF5659341}" dt="2026-03-19T09:03:31.624" v="1715" actId="1035"/>
          <ac:spMkLst>
            <pc:docMk/>
            <pc:sldMk cId="3066067859" sldId="286"/>
            <ac:spMk id="47" creationId="{25D3CB5A-150F-0A34-72C3-A903E2CB4ACC}"/>
          </ac:spMkLst>
        </pc:spChg>
        <pc:spChg chg="mod">
          <ac:chgData name="Loic Menzies" userId="d4797216ef32cd4a" providerId="LiveId" clId="{290C7C4C-BA08-4733-B4F5-401BF5659341}" dt="2026-03-19T09:04:52.877" v="1777" actId="1036"/>
          <ac:spMkLst>
            <pc:docMk/>
            <pc:sldMk cId="3066067859" sldId="286"/>
            <ac:spMk id="48" creationId="{DC8EB60B-6D5D-B17B-2E59-2B5AC7518602}"/>
          </ac:spMkLst>
        </pc:spChg>
        <pc:spChg chg="mod">
          <ac:chgData name="Loic Menzies" userId="d4797216ef32cd4a" providerId="LiveId" clId="{290C7C4C-BA08-4733-B4F5-401BF5659341}" dt="2026-03-19T09:02:46.894" v="1642" actId="403"/>
          <ac:spMkLst>
            <pc:docMk/>
            <pc:sldMk cId="3066067859" sldId="286"/>
            <ac:spMk id="49" creationId="{94AD3E5D-3EF3-C1D0-5F10-4669BEF26C43}"/>
          </ac:spMkLst>
        </pc:spChg>
        <pc:spChg chg="mod">
          <ac:chgData name="Loic Menzies" userId="d4797216ef32cd4a" providerId="LiveId" clId="{290C7C4C-BA08-4733-B4F5-401BF5659341}" dt="2026-03-19T09:04:25.144" v="1772" actId="1035"/>
          <ac:spMkLst>
            <pc:docMk/>
            <pc:sldMk cId="3066067859" sldId="286"/>
            <ac:spMk id="58" creationId="{4D454146-EEF9-379B-718B-918555CD7BE9}"/>
          </ac:spMkLst>
        </pc:spChg>
        <pc:spChg chg="mod">
          <ac:chgData name="Loic Menzies" userId="d4797216ef32cd4a" providerId="LiveId" clId="{290C7C4C-BA08-4733-B4F5-401BF5659341}" dt="2026-03-19T09:04:15.618" v="1765" actId="1036"/>
          <ac:spMkLst>
            <pc:docMk/>
            <pc:sldMk cId="3066067859" sldId="286"/>
            <ac:spMk id="59" creationId="{7553D269-F0C7-4194-8E68-62EB16430B74}"/>
          </ac:spMkLst>
        </pc:spChg>
        <pc:spChg chg="mod">
          <ac:chgData name="Loic Menzies" userId="d4797216ef32cd4a" providerId="LiveId" clId="{290C7C4C-BA08-4733-B4F5-401BF5659341}" dt="2026-03-19T09:04:52.877" v="1777" actId="1036"/>
          <ac:spMkLst>
            <pc:docMk/>
            <pc:sldMk cId="3066067859" sldId="286"/>
            <ac:spMk id="60" creationId="{87FA6D91-5227-CDAC-4351-C7959DC21EA5}"/>
          </ac:spMkLst>
        </pc:spChg>
        <pc:spChg chg="mod">
          <ac:chgData name="Loic Menzies" userId="d4797216ef32cd4a" providerId="LiveId" clId="{290C7C4C-BA08-4733-B4F5-401BF5659341}" dt="2026-03-19T09:02:33.265" v="1628" actId="1036"/>
          <ac:spMkLst>
            <pc:docMk/>
            <pc:sldMk cId="3066067859" sldId="286"/>
            <ac:spMk id="61" creationId="{A5F9B0C5-8BF6-8F35-2A44-4CB5D5717600}"/>
          </ac:spMkLst>
        </pc:spChg>
        <pc:spChg chg="mod">
          <ac:chgData name="Loic Menzies" userId="d4797216ef32cd4a" providerId="LiveId" clId="{290C7C4C-BA08-4733-B4F5-401BF5659341}" dt="2026-03-19T09:04:52.877" v="1777" actId="1036"/>
          <ac:spMkLst>
            <pc:docMk/>
            <pc:sldMk cId="3066067859" sldId="286"/>
            <ac:spMk id="64" creationId="{E693868B-6D05-27B8-5DBB-6B9AEE9AB426}"/>
          </ac:spMkLst>
        </pc:spChg>
        <pc:spChg chg="mod">
          <ac:chgData name="Loic Menzies" userId="d4797216ef32cd4a" providerId="LiveId" clId="{290C7C4C-BA08-4733-B4F5-401BF5659341}" dt="2026-03-19T09:04:25.144" v="1772" actId="1035"/>
          <ac:spMkLst>
            <pc:docMk/>
            <pc:sldMk cId="3066067859" sldId="286"/>
            <ac:spMk id="79" creationId="{B7638136-82D7-49AE-9DD6-A67C30C6B76D}"/>
          </ac:spMkLst>
        </pc:spChg>
        <pc:spChg chg="mod">
          <ac:chgData name="Loic Menzies" userId="d4797216ef32cd4a" providerId="LiveId" clId="{290C7C4C-BA08-4733-B4F5-401BF5659341}" dt="2026-03-19T09:04:25.144" v="1772" actId="1035"/>
          <ac:spMkLst>
            <pc:docMk/>
            <pc:sldMk cId="3066067859" sldId="286"/>
            <ac:spMk id="82" creationId="{E72F8EBF-5AB3-4EA4-B7B8-8A6216573178}"/>
          </ac:spMkLst>
        </pc:spChg>
        <pc:spChg chg="mod">
          <ac:chgData name="Loic Menzies" userId="d4797216ef32cd4a" providerId="LiveId" clId="{290C7C4C-BA08-4733-B4F5-401BF5659341}" dt="2026-03-19T09:04:25.144" v="1772" actId="1035"/>
          <ac:spMkLst>
            <pc:docMk/>
            <pc:sldMk cId="3066067859" sldId="286"/>
            <ac:spMk id="84" creationId="{38A7A99A-5A2D-41A1-A71C-FF56C2D4FDC9}"/>
          </ac:spMkLst>
        </pc:spChg>
        <pc:spChg chg="mod">
          <ac:chgData name="Loic Menzies" userId="d4797216ef32cd4a" providerId="LiveId" clId="{290C7C4C-BA08-4733-B4F5-401BF5659341}" dt="2026-03-19T09:04:25.144" v="1772" actId="1035"/>
          <ac:spMkLst>
            <pc:docMk/>
            <pc:sldMk cId="3066067859" sldId="286"/>
            <ac:spMk id="94" creationId="{7C21A553-F1CA-4289-9155-D81EA99DE067}"/>
          </ac:spMkLst>
        </pc:spChg>
        <pc:spChg chg="mod">
          <ac:chgData name="Loic Menzies" userId="d4797216ef32cd4a" providerId="LiveId" clId="{290C7C4C-BA08-4733-B4F5-401BF5659341}" dt="2026-03-19T09:04:25.144" v="1772" actId="1035"/>
          <ac:spMkLst>
            <pc:docMk/>
            <pc:sldMk cId="3066067859" sldId="286"/>
            <ac:spMk id="95" creationId="{694ADF42-DBCD-4A63-AB23-6A407BAAC0A1}"/>
          </ac:spMkLst>
        </pc:spChg>
        <pc:spChg chg="mod">
          <ac:chgData name="Loic Menzies" userId="d4797216ef32cd4a" providerId="LiveId" clId="{290C7C4C-BA08-4733-B4F5-401BF5659341}" dt="2026-03-19T09:02:33.265" v="1628" actId="1036"/>
          <ac:spMkLst>
            <pc:docMk/>
            <pc:sldMk cId="3066067859" sldId="286"/>
            <ac:spMk id="97" creationId="{E988D017-9067-4E0E-B0C3-E40B7FB4FB47}"/>
          </ac:spMkLst>
        </pc:spChg>
        <pc:spChg chg="mod">
          <ac:chgData name="Loic Menzies" userId="d4797216ef32cd4a" providerId="LiveId" clId="{290C7C4C-BA08-4733-B4F5-401BF5659341}" dt="2026-03-19T09:02:33.265" v="1628" actId="1036"/>
          <ac:spMkLst>
            <pc:docMk/>
            <pc:sldMk cId="3066067859" sldId="286"/>
            <ac:spMk id="99" creationId="{B740ED89-F414-47FF-B647-94AEFD44117E}"/>
          </ac:spMkLst>
        </pc:spChg>
        <pc:spChg chg="mod">
          <ac:chgData name="Loic Menzies" userId="d4797216ef32cd4a" providerId="LiveId" clId="{290C7C4C-BA08-4733-B4F5-401BF5659341}" dt="2026-03-19T09:02:33.265" v="1628" actId="1036"/>
          <ac:spMkLst>
            <pc:docMk/>
            <pc:sldMk cId="3066067859" sldId="286"/>
            <ac:spMk id="101" creationId="{FD1B3BAB-2F46-4333-B49F-0EEE46A98577}"/>
          </ac:spMkLst>
        </pc:spChg>
        <pc:spChg chg="mod">
          <ac:chgData name="Loic Menzies" userId="d4797216ef32cd4a" providerId="LiveId" clId="{290C7C4C-BA08-4733-B4F5-401BF5659341}" dt="2026-03-19T09:02:33.265" v="1628" actId="1036"/>
          <ac:spMkLst>
            <pc:docMk/>
            <pc:sldMk cId="3066067859" sldId="286"/>
            <ac:spMk id="117" creationId="{19144966-B0CB-412E-A07F-613D8A115650}"/>
          </ac:spMkLst>
        </pc:spChg>
        <pc:spChg chg="mod">
          <ac:chgData name="Loic Menzies" userId="d4797216ef32cd4a" providerId="LiveId" clId="{290C7C4C-BA08-4733-B4F5-401BF5659341}" dt="2026-03-19T09:02:33.265" v="1628" actId="1036"/>
          <ac:spMkLst>
            <pc:docMk/>
            <pc:sldMk cId="3066067859" sldId="286"/>
            <ac:spMk id="118" creationId="{256DD422-3A8F-46D5-971A-D5019E88CF2F}"/>
          </ac:spMkLst>
        </pc:spChg>
        <pc:grpChg chg="del">
          <ac:chgData name="Loic Menzies" userId="d4797216ef32cd4a" providerId="LiveId" clId="{290C7C4C-BA08-4733-B4F5-401BF5659341}" dt="2026-03-19T09:01:05.461" v="1498" actId="478"/>
          <ac:grpSpMkLst>
            <pc:docMk/>
            <pc:sldMk cId="3066067859" sldId="286"/>
            <ac:grpSpMk id="16" creationId="{56E00E41-2EC5-3EE5-A982-974C508A6AC8}"/>
          </ac:grpSpMkLst>
        </pc:grpChg>
        <pc:grpChg chg="mod">
          <ac:chgData name="Loic Menzies" userId="d4797216ef32cd4a" providerId="LiveId" clId="{290C7C4C-BA08-4733-B4F5-401BF5659341}" dt="2026-03-19T09:04:52.877" v="1777" actId="1036"/>
          <ac:grpSpMkLst>
            <pc:docMk/>
            <pc:sldMk cId="3066067859" sldId="286"/>
            <ac:grpSpMk id="22" creationId="{096A41A5-BA80-4F44-BD61-0BF6DE3A063A}"/>
          </ac:grpSpMkLst>
        </pc:grpChg>
        <pc:picChg chg="mod">
          <ac:chgData name="Loic Menzies" userId="d4797216ef32cd4a" providerId="LiveId" clId="{290C7C4C-BA08-4733-B4F5-401BF5659341}" dt="2026-03-19T09:04:52.877" v="1777" actId="1036"/>
          <ac:picMkLst>
            <pc:docMk/>
            <pc:sldMk cId="3066067859" sldId="286"/>
            <ac:picMk id="3" creationId="{B10E1D9A-1DAC-DDD8-66B3-C4A9D51E7194}"/>
          </ac:picMkLst>
        </pc:picChg>
        <pc:cxnChg chg="mod">
          <ac:chgData name="Loic Menzies" userId="d4797216ef32cd4a" providerId="LiveId" clId="{290C7C4C-BA08-4733-B4F5-401BF5659341}" dt="2026-03-19T09:02:18.398" v="1595" actId="14100"/>
          <ac:cxnSpMkLst>
            <pc:docMk/>
            <pc:sldMk cId="3066067859" sldId="286"/>
            <ac:cxnSpMk id="6" creationId="{ABFF0383-DFFF-670B-4FC6-BA9222ECDC32}"/>
          </ac:cxnSpMkLst>
        </pc:cxnChg>
        <pc:cxnChg chg="mod">
          <ac:chgData name="Loic Menzies" userId="d4797216ef32cd4a" providerId="LiveId" clId="{290C7C4C-BA08-4733-B4F5-401BF5659341}" dt="2026-03-19T09:03:18.483" v="1702" actId="1036"/>
          <ac:cxnSpMkLst>
            <pc:docMk/>
            <pc:sldMk cId="3066067859" sldId="286"/>
            <ac:cxnSpMk id="12" creationId="{35B44D82-34C2-47C2-49B6-571C308FEEB2}"/>
          </ac:cxnSpMkLst>
        </pc:cxnChg>
        <pc:cxnChg chg="mod">
          <ac:chgData name="Loic Menzies" userId="d4797216ef32cd4a" providerId="LiveId" clId="{290C7C4C-BA08-4733-B4F5-401BF5659341}" dt="2026-03-19T09:04:58.956" v="1784" actId="1036"/>
          <ac:cxnSpMkLst>
            <pc:docMk/>
            <pc:sldMk cId="3066067859" sldId="286"/>
            <ac:cxnSpMk id="30" creationId="{F3073533-EF08-4DB3-91FA-EC5854FBA75D}"/>
          </ac:cxnSpMkLst>
        </pc:cxnChg>
        <pc:cxnChg chg="mod">
          <ac:chgData name="Loic Menzies" userId="d4797216ef32cd4a" providerId="LiveId" clId="{290C7C4C-BA08-4733-B4F5-401BF5659341}" dt="2026-03-19T09:04:05.996" v="1752" actId="1035"/>
          <ac:cxnSpMkLst>
            <pc:docMk/>
            <pc:sldMk cId="3066067859" sldId="286"/>
            <ac:cxnSpMk id="32" creationId="{E735FFA6-4DB7-4C2E-A7A6-29178128598C}"/>
          </ac:cxnSpMkLst>
        </pc:cxnChg>
        <pc:cxnChg chg="mod">
          <ac:chgData name="Loic Menzies" userId="d4797216ef32cd4a" providerId="LiveId" clId="{290C7C4C-BA08-4733-B4F5-401BF5659341}" dt="2026-03-19T09:05:05.263" v="1796" actId="1036"/>
          <ac:cxnSpMkLst>
            <pc:docMk/>
            <pc:sldMk cId="3066067859" sldId="286"/>
            <ac:cxnSpMk id="85" creationId="{4B312C9F-B975-4979-96B1-1F1597A7A871}"/>
          </ac:cxnSpMkLst>
        </pc:cxnChg>
        <pc:cxnChg chg="mod">
          <ac:chgData name="Loic Menzies" userId="d4797216ef32cd4a" providerId="LiveId" clId="{290C7C4C-BA08-4733-B4F5-401BF5659341}" dt="2026-03-19T09:04:05.996" v="1752" actId="1035"/>
          <ac:cxnSpMkLst>
            <pc:docMk/>
            <pc:sldMk cId="3066067859" sldId="286"/>
            <ac:cxnSpMk id="112" creationId="{8561ED9C-D999-4FC6-9D05-A36DBC1DCE81}"/>
          </ac:cxnSpMkLst>
        </pc:cxnChg>
        <pc:cxnChg chg="mod">
          <ac:chgData name="Loic Menzies" userId="d4797216ef32cd4a" providerId="LiveId" clId="{290C7C4C-BA08-4733-B4F5-401BF5659341}" dt="2026-03-19T09:03:18.483" v="1702" actId="1036"/>
          <ac:cxnSpMkLst>
            <pc:docMk/>
            <pc:sldMk cId="3066067859" sldId="286"/>
            <ac:cxnSpMk id="116" creationId="{339CC1C2-52E1-4916-90F5-2D3FDB5147F9}"/>
          </ac:cxnSpMkLst>
        </pc:cxnChg>
      </pc:sldChg>
      <pc:sldChg chg="addSp modSp add mod">
        <pc:chgData name="Loic Menzies" userId="d4797216ef32cd4a" providerId="LiveId" clId="{290C7C4C-BA08-4733-B4F5-401BF5659341}" dt="2026-03-19T08:26:29.206" v="1013" actId="403"/>
        <pc:sldMkLst>
          <pc:docMk/>
          <pc:sldMk cId="3506347935" sldId="287"/>
        </pc:sldMkLst>
        <pc:spChg chg="mod">
          <ac:chgData name="Loic Menzies" userId="d4797216ef32cd4a" providerId="LiveId" clId="{290C7C4C-BA08-4733-B4F5-401BF5659341}" dt="2026-03-19T08:26:29.206" v="1013" actId="403"/>
          <ac:spMkLst>
            <pc:docMk/>
            <pc:sldMk cId="3506347935" sldId="287"/>
            <ac:spMk id="2" creationId="{B800C2FF-C138-3446-0416-1ACC355806B8}"/>
          </ac:spMkLst>
        </pc:spChg>
        <pc:spChg chg="add mod">
          <ac:chgData name="Loic Menzies" userId="d4797216ef32cd4a" providerId="LiveId" clId="{290C7C4C-BA08-4733-B4F5-401BF5659341}" dt="2026-03-19T08:23:25.130" v="767"/>
          <ac:spMkLst>
            <pc:docMk/>
            <pc:sldMk cId="3506347935" sldId="287"/>
            <ac:spMk id="3" creationId="{FE6D00E5-813D-53EE-9D3A-C8307A7FC54B}"/>
          </ac:spMkLst>
        </pc:spChg>
        <pc:spChg chg="add mod">
          <ac:chgData name="Loic Menzies" userId="d4797216ef32cd4a" providerId="LiveId" clId="{290C7C4C-BA08-4733-B4F5-401BF5659341}" dt="2026-03-19T08:24:07.508" v="791" actId="20577"/>
          <ac:spMkLst>
            <pc:docMk/>
            <pc:sldMk cId="3506347935" sldId="287"/>
            <ac:spMk id="4" creationId="{8E7C47E0-9CBC-0DCF-A8ED-C11AD55B7F51}"/>
          </ac:spMkLst>
        </pc:spChg>
        <pc:spChg chg="add mod">
          <ac:chgData name="Loic Menzies" userId="d4797216ef32cd4a" providerId="LiveId" clId="{290C7C4C-BA08-4733-B4F5-401BF5659341}" dt="2026-03-19T08:26:21.126" v="1012" actId="403"/>
          <ac:spMkLst>
            <pc:docMk/>
            <pc:sldMk cId="3506347935" sldId="287"/>
            <ac:spMk id="5" creationId="{B46FCCBE-7231-F493-4AEF-9DD08FD965D0}"/>
          </ac:spMkLst>
        </pc:spChg>
      </pc:sldChg>
      <pc:sldChg chg="modSp add mod">
        <pc:chgData name="Loic Menzies" userId="d4797216ef32cd4a" providerId="LiveId" clId="{290C7C4C-BA08-4733-B4F5-401BF5659341}" dt="2026-03-19T11:10:18.567" v="3700" actId="20577"/>
        <pc:sldMkLst>
          <pc:docMk/>
          <pc:sldMk cId="3408776842" sldId="288"/>
        </pc:sldMkLst>
        <pc:spChg chg="mod">
          <ac:chgData name="Loic Menzies" userId="d4797216ef32cd4a" providerId="LiveId" clId="{290C7C4C-BA08-4733-B4F5-401BF5659341}" dt="2026-03-19T11:10:18.567" v="3700" actId="20577"/>
          <ac:spMkLst>
            <pc:docMk/>
            <pc:sldMk cId="3408776842" sldId="288"/>
            <ac:spMk id="5" creationId="{AA57342A-7D9B-4BCF-ED77-56A77BCA3FC3}"/>
          </ac:spMkLst>
        </pc:spChg>
      </pc:sldChg>
      <pc:sldChg chg="addSp delSp modSp add mod">
        <pc:chgData name="Loic Menzies" userId="d4797216ef32cd4a" providerId="LiveId" clId="{290C7C4C-BA08-4733-B4F5-401BF5659341}" dt="2026-03-19T09:14:38.721" v="2446" actId="1036"/>
        <pc:sldMkLst>
          <pc:docMk/>
          <pc:sldMk cId="3948463845" sldId="289"/>
        </pc:sldMkLst>
        <pc:spChg chg="mod">
          <ac:chgData name="Loic Menzies" userId="d4797216ef32cd4a" providerId="LiveId" clId="{290C7C4C-BA08-4733-B4F5-401BF5659341}" dt="2026-03-19T09:14:38.721" v="2446" actId="1036"/>
          <ac:spMkLst>
            <pc:docMk/>
            <pc:sldMk cId="3948463845" sldId="289"/>
            <ac:spMk id="2" creationId="{9467F0A4-B9EC-193D-788A-25EFCA1CCC97}"/>
          </ac:spMkLst>
        </pc:spChg>
        <pc:spChg chg="add mod">
          <ac:chgData name="Loic Menzies" userId="d4797216ef32cd4a" providerId="LiveId" clId="{290C7C4C-BA08-4733-B4F5-401BF5659341}" dt="2026-03-19T09:13:53.028" v="2356" actId="1036"/>
          <ac:spMkLst>
            <pc:docMk/>
            <pc:sldMk cId="3948463845" sldId="289"/>
            <ac:spMk id="7" creationId="{062195A7-55BD-7D5D-AFBD-F92077EF052C}"/>
          </ac:spMkLst>
        </pc:spChg>
        <pc:spChg chg="del">
          <ac:chgData name="Loic Menzies" userId="d4797216ef32cd4a" providerId="LiveId" clId="{290C7C4C-BA08-4733-B4F5-401BF5659341}" dt="2026-03-19T09:08:46.488" v="2082" actId="478"/>
          <ac:spMkLst>
            <pc:docMk/>
            <pc:sldMk cId="3948463845" sldId="289"/>
            <ac:spMk id="9" creationId="{6680A9AB-5520-6EBB-9AEF-3577B9943C73}"/>
          </ac:spMkLst>
        </pc:spChg>
        <pc:spChg chg="add mod">
          <ac:chgData name="Loic Menzies" userId="d4797216ef32cd4a" providerId="LiveId" clId="{290C7C4C-BA08-4733-B4F5-401BF5659341}" dt="2026-03-19T09:13:36.130" v="2323" actId="1036"/>
          <ac:spMkLst>
            <pc:docMk/>
            <pc:sldMk cId="3948463845" sldId="289"/>
            <ac:spMk id="10" creationId="{B5AC4009-F978-33A4-DFC4-0FAF9FCB81EA}"/>
          </ac:spMkLst>
        </pc:spChg>
        <pc:spChg chg="del mod">
          <ac:chgData name="Loic Menzies" userId="d4797216ef32cd4a" providerId="LiveId" clId="{290C7C4C-BA08-4733-B4F5-401BF5659341}" dt="2026-03-19T09:08:53.684" v="2085" actId="478"/>
          <ac:spMkLst>
            <pc:docMk/>
            <pc:sldMk cId="3948463845" sldId="289"/>
            <ac:spMk id="13" creationId="{0B8711CC-2DFD-754A-2000-2FE88DA65B76}"/>
          </ac:spMkLst>
        </pc:spChg>
        <pc:spChg chg="mod">
          <ac:chgData name="Loic Menzies" userId="d4797216ef32cd4a" providerId="LiveId" clId="{290C7C4C-BA08-4733-B4F5-401BF5659341}" dt="2026-03-19T09:14:32.481" v="2439" actId="1035"/>
          <ac:spMkLst>
            <pc:docMk/>
            <pc:sldMk cId="3948463845" sldId="289"/>
            <ac:spMk id="18" creationId="{42D4D845-9502-18D8-3919-04A6E5EA22EE}"/>
          </ac:spMkLst>
        </pc:spChg>
        <pc:spChg chg="mod">
          <ac:chgData name="Loic Menzies" userId="d4797216ef32cd4a" providerId="LiveId" clId="{290C7C4C-BA08-4733-B4F5-401BF5659341}" dt="2026-03-19T09:14:32.481" v="2439" actId="1035"/>
          <ac:spMkLst>
            <pc:docMk/>
            <pc:sldMk cId="3948463845" sldId="289"/>
            <ac:spMk id="19" creationId="{3DBA43EE-154E-3584-D378-DB2D84DC26AE}"/>
          </ac:spMkLst>
        </pc:spChg>
        <pc:spChg chg="mod">
          <ac:chgData name="Loic Menzies" userId="d4797216ef32cd4a" providerId="LiveId" clId="{290C7C4C-BA08-4733-B4F5-401BF5659341}" dt="2026-03-19T09:14:32.481" v="2439" actId="1035"/>
          <ac:spMkLst>
            <pc:docMk/>
            <pc:sldMk cId="3948463845" sldId="289"/>
            <ac:spMk id="20" creationId="{D4BFB04A-9D7D-A6D6-6C26-A6975C626EE0}"/>
          </ac:spMkLst>
        </pc:spChg>
        <pc:spChg chg="del">
          <ac:chgData name="Loic Menzies" userId="d4797216ef32cd4a" providerId="LiveId" clId="{290C7C4C-BA08-4733-B4F5-401BF5659341}" dt="2026-03-19T09:06:27.984" v="1857" actId="478"/>
          <ac:spMkLst>
            <pc:docMk/>
            <pc:sldMk cId="3948463845" sldId="289"/>
            <ac:spMk id="21" creationId="{BCA65938-F1ED-156A-F391-543D2F9DB1C6}"/>
          </ac:spMkLst>
        </pc:spChg>
        <pc:spChg chg="mod">
          <ac:chgData name="Loic Menzies" userId="d4797216ef32cd4a" providerId="LiveId" clId="{290C7C4C-BA08-4733-B4F5-401BF5659341}" dt="2026-03-19T09:14:32.481" v="2439" actId="1035"/>
          <ac:spMkLst>
            <pc:docMk/>
            <pc:sldMk cId="3948463845" sldId="289"/>
            <ac:spMk id="23" creationId="{038BB779-986E-8961-E125-0AD5385B8694}"/>
          </ac:spMkLst>
        </pc:spChg>
        <pc:spChg chg="mod">
          <ac:chgData name="Loic Menzies" userId="d4797216ef32cd4a" providerId="LiveId" clId="{290C7C4C-BA08-4733-B4F5-401BF5659341}" dt="2026-03-19T09:12:21.950" v="2298" actId="1076"/>
          <ac:spMkLst>
            <pc:docMk/>
            <pc:sldMk cId="3948463845" sldId="289"/>
            <ac:spMk id="25" creationId="{3174BB45-3277-8359-0D07-F013056E538D}"/>
          </ac:spMkLst>
        </pc:spChg>
        <pc:spChg chg="del">
          <ac:chgData name="Loic Menzies" userId="d4797216ef32cd4a" providerId="LiveId" clId="{290C7C4C-BA08-4733-B4F5-401BF5659341}" dt="2026-03-19T09:08:41.615" v="2078" actId="478"/>
          <ac:spMkLst>
            <pc:docMk/>
            <pc:sldMk cId="3948463845" sldId="289"/>
            <ac:spMk id="27" creationId="{746B28E9-CCAC-A9A3-4085-ECD393F2174F}"/>
          </ac:spMkLst>
        </pc:spChg>
        <pc:spChg chg="add mod">
          <ac:chgData name="Loic Menzies" userId="d4797216ef32cd4a" providerId="LiveId" clId="{290C7C4C-BA08-4733-B4F5-401BF5659341}" dt="2026-03-19T09:14:32.481" v="2439" actId="1035"/>
          <ac:spMkLst>
            <pc:docMk/>
            <pc:sldMk cId="3948463845" sldId="289"/>
            <ac:spMk id="31" creationId="{22870198-1748-5598-61C7-C8BA62E16311}"/>
          </ac:spMkLst>
        </pc:spChg>
        <pc:spChg chg="del">
          <ac:chgData name="Loic Menzies" userId="d4797216ef32cd4a" providerId="LiveId" clId="{290C7C4C-BA08-4733-B4F5-401BF5659341}" dt="2026-03-19T09:08:50.152" v="2083" actId="478"/>
          <ac:spMkLst>
            <pc:docMk/>
            <pc:sldMk cId="3948463845" sldId="289"/>
            <ac:spMk id="46" creationId="{23D6C9B0-5C4F-9020-D97D-EA4E85B0FD57}"/>
          </ac:spMkLst>
        </pc:spChg>
        <pc:spChg chg="add del mod">
          <ac:chgData name="Loic Menzies" userId="d4797216ef32cd4a" providerId="LiveId" clId="{290C7C4C-BA08-4733-B4F5-401BF5659341}" dt="2026-03-19T09:08:44.960" v="2081" actId="478"/>
          <ac:spMkLst>
            <pc:docMk/>
            <pc:sldMk cId="3948463845" sldId="289"/>
            <ac:spMk id="47" creationId="{7707C22D-E100-31FB-026B-4188D57814D4}"/>
          </ac:spMkLst>
        </pc:spChg>
        <pc:spChg chg="add del">
          <ac:chgData name="Loic Menzies" userId="d4797216ef32cd4a" providerId="LiveId" clId="{290C7C4C-BA08-4733-B4F5-401BF5659341}" dt="2026-03-19T09:08:16.663" v="2065" actId="478"/>
          <ac:spMkLst>
            <pc:docMk/>
            <pc:sldMk cId="3948463845" sldId="289"/>
            <ac:spMk id="48" creationId="{60BC1184-6AD8-8166-22DC-D7C94AB0AFBB}"/>
          </ac:spMkLst>
        </pc:spChg>
        <pc:spChg chg="del">
          <ac:chgData name="Loic Menzies" userId="d4797216ef32cd4a" providerId="LiveId" clId="{290C7C4C-BA08-4733-B4F5-401BF5659341}" dt="2026-03-19T09:06:31.359" v="1858" actId="478"/>
          <ac:spMkLst>
            <pc:docMk/>
            <pc:sldMk cId="3948463845" sldId="289"/>
            <ac:spMk id="49" creationId="{6365F426-E9B3-357F-15A0-AE33AAA8A372}"/>
          </ac:spMkLst>
        </pc:spChg>
        <pc:spChg chg="add del">
          <ac:chgData name="Loic Menzies" userId="d4797216ef32cd4a" providerId="LiveId" clId="{290C7C4C-BA08-4733-B4F5-401BF5659341}" dt="2026-03-19T09:08:15.135" v="2064" actId="478"/>
          <ac:spMkLst>
            <pc:docMk/>
            <pc:sldMk cId="3948463845" sldId="289"/>
            <ac:spMk id="58" creationId="{479EC74F-B462-ADF6-8E7F-9265F80666B6}"/>
          </ac:spMkLst>
        </pc:spChg>
        <pc:spChg chg="mod">
          <ac:chgData name="Loic Menzies" userId="d4797216ef32cd4a" providerId="LiveId" clId="{290C7C4C-BA08-4733-B4F5-401BF5659341}" dt="2026-03-19T09:13:58.898" v="2369" actId="1036"/>
          <ac:spMkLst>
            <pc:docMk/>
            <pc:sldMk cId="3948463845" sldId="289"/>
            <ac:spMk id="59" creationId="{93CFAA1B-5872-DB9E-C34A-6BD3EFA92C8C}"/>
          </ac:spMkLst>
        </pc:spChg>
        <pc:spChg chg="mod">
          <ac:chgData name="Loic Menzies" userId="d4797216ef32cd4a" providerId="LiveId" clId="{290C7C4C-BA08-4733-B4F5-401BF5659341}" dt="2026-03-19T09:11:58.155" v="2295" actId="20577"/>
          <ac:spMkLst>
            <pc:docMk/>
            <pc:sldMk cId="3948463845" sldId="289"/>
            <ac:spMk id="60" creationId="{FF06AE53-490D-E12C-BE01-97148A2EBCD3}"/>
          </ac:spMkLst>
        </pc:spChg>
        <pc:spChg chg="del">
          <ac:chgData name="Loic Menzies" userId="d4797216ef32cd4a" providerId="LiveId" clId="{290C7C4C-BA08-4733-B4F5-401BF5659341}" dt="2026-03-19T09:08:38.665" v="2076" actId="478"/>
          <ac:spMkLst>
            <pc:docMk/>
            <pc:sldMk cId="3948463845" sldId="289"/>
            <ac:spMk id="64" creationId="{419BC553-2A07-2F82-7417-D2B4DBE25C60}"/>
          </ac:spMkLst>
        </pc:spChg>
        <pc:spChg chg="mod">
          <ac:chgData name="Loic Menzies" userId="d4797216ef32cd4a" providerId="LiveId" clId="{290C7C4C-BA08-4733-B4F5-401BF5659341}" dt="2026-03-19T09:14:32.481" v="2439" actId="1035"/>
          <ac:spMkLst>
            <pc:docMk/>
            <pc:sldMk cId="3948463845" sldId="289"/>
            <ac:spMk id="74" creationId="{4529E7E9-93DC-C043-1408-085FB2567994}"/>
          </ac:spMkLst>
        </pc:spChg>
        <pc:spChg chg="mod">
          <ac:chgData name="Loic Menzies" userId="d4797216ef32cd4a" providerId="LiveId" clId="{290C7C4C-BA08-4733-B4F5-401BF5659341}" dt="2026-03-19T09:14:32.481" v="2439" actId="1035"/>
          <ac:spMkLst>
            <pc:docMk/>
            <pc:sldMk cId="3948463845" sldId="289"/>
            <ac:spMk id="75" creationId="{F9F00775-EE58-DE92-587B-76D4722BE0A1}"/>
          </ac:spMkLst>
        </pc:spChg>
        <pc:spChg chg="mod">
          <ac:chgData name="Loic Menzies" userId="d4797216ef32cd4a" providerId="LiveId" clId="{290C7C4C-BA08-4733-B4F5-401BF5659341}" dt="2026-03-19T09:14:32.481" v="2439" actId="1035"/>
          <ac:spMkLst>
            <pc:docMk/>
            <pc:sldMk cId="3948463845" sldId="289"/>
            <ac:spMk id="79" creationId="{3298991D-F8BC-9964-ED1C-C1BF49BFF9EE}"/>
          </ac:spMkLst>
        </pc:spChg>
        <pc:spChg chg="mod">
          <ac:chgData name="Loic Menzies" userId="d4797216ef32cd4a" providerId="LiveId" clId="{290C7C4C-BA08-4733-B4F5-401BF5659341}" dt="2026-03-19T09:14:32.481" v="2439" actId="1035"/>
          <ac:spMkLst>
            <pc:docMk/>
            <pc:sldMk cId="3948463845" sldId="289"/>
            <ac:spMk id="94" creationId="{AD8E907E-8A5E-63D9-2850-B01C8F7288C5}"/>
          </ac:spMkLst>
        </pc:spChg>
        <pc:spChg chg="mod">
          <ac:chgData name="Loic Menzies" userId="d4797216ef32cd4a" providerId="LiveId" clId="{290C7C4C-BA08-4733-B4F5-401BF5659341}" dt="2026-03-19T09:14:32.481" v="2439" actId="1035"/>
          <ac:spMkLst>
            <pc:docMk/>
            <pc:sldMk cId="3948463845" sldId="289"/>
            <ac:spMk id="95" creationId="{270EABC1-E8C1-FC98-D4D9-706017286936}"/>
          </ac:spMkLst>
        </pc:spChg>
        <pc:grpChg chg="add del mod">
          <ac:chgData name="Loic Menzies" userId="d4797216ef32cd4a" providerId="LiveId" clId="{290C7C4C-BA08-4733-B4F5-401BF5659341}" dt="2026-03-19T09:12:51.536" v="2300" actId="478"/>
          <ac:grpSpMkLst>
            <pc:docMk/>
            <pc:sldMk cId="3948463845" sldId="289"/>
            <ac:grpSpMk id="16" creationId="{633C95D2-4C2B-7A72-5BDB-718FB616FC8F}"/>
          </ac:grpSpMkLst>
        </pc:grpChg>
        <pc:grpChg chg="del">
          <ac:chgData name="Loic Menzies" userId="d4797216ef32cd4a" providerId="LiveId" clId="{290C7C4C-BA08-4733-B4F5-401BF5659341}" dt="2026-03-19T09:08:58.477" v="2089" actId="478"/>
          <ac:grpSpMkLst>
            <pc:docMk/>
            <pc:sldMk cId="3948463845" sldId="289"/>
            <ac:grpSpMk id="17" creationId="{87EF2062-9147-4EF4-90F4-A7B955002B0B}"/>
          </ac:grpSpMkLst>
        </pc:grpChg>
        <pc:grpChg chg="del">
          <ac:chgData name="Loic Menzies" userId="d4797216ef32cd4a" providerId="LiveId" clId="{290C7C4C-BA08-4733-B4F5-401BF5659341}" dt="2026-03-19T09:12:12.529" v="2296" actId="478"/>
          <ac:grpSpMkLst>
            <pc:docMk/>
            <pc:sldMk cId="3948463845" sldId="289"/>
            <ac:grpSpMk id="22" creationId="{736C5CD6-C4CB-5C00-B90B-8489E5494A69}"/>
          </ac:grpSpMkLst>
        </pc:grpChg>
        <pc:grpChg chg="add del mod">
          <ac:chgData name="Loic Menzies" userId="d4797216ef32cd4a" providerId="LiveId" clId="{290C7C4C-BA08-4733-B4F5-401BF5659341}" dt="2026-03-19T09:13:46.012" v="2341" actId="1036"/>
          <ac:grpSpMkLst>
            <pc:docMk/>
            <pc:sldMk cId="3948463845" sldId="289"/>
            <ac:grpSpMk id="24" creationId="{527FEF53-675E-4F22-0E86-89BF9F076C57}"/>
          </ac:grpSpMkLst>
        </pc:grpChg>
        <pc:grpChg chg="add del">
          <ac:chgData name="Loic Menzies" userId="d4797216ef32cd4a" providerId="LiveId" clId="{290C7C4C-BA08-4733-B4F5-401BF5659341}" dt="2026-03-19T09:08:00.650" v="2062" actId="478"/>
          <ac:grpSpMkLst>
            <pc:docMk/>
            <pc:sldMk cId="3948463845" sldId="289"/>
            <ac:grpSpMk id="78" creationId="{1ED24968-36C3-B060-C7BC-E70D6C6D77F3}"/>
          </ac:grpSpMkLst>
        </pc:grpChg>
        <pc:grpChg chg="del">
          <ac:chgData name="Loic Menzies" userId="d4797216ef32cd4a" providerId="LiveId" clId="{290C7C4C-BA08-4733-B4F5-401BF5659341}" dt="2026-03-19T09:08:57.230" v="2088" actId="478"/>
          <ac:grpSpMkLst>
            <pc:docMk/>
            <pc:sldMk cId="3948463845" sldId="289"/>
            <ac:grpSpMk id="96" creationId="{3C3CE408-9B51-CFF0-ABC2-395D51AAA121}"/>
          </ac:grpSpMkLst>
        </pc:grpChg>
        <pc:picChg chg="mod">
          <ac:chgData name="Loic Menzies" userId="d4797216ef32cd4a" providerId="LiveId" clId="{290C7C4C-BA08-4733-B4F5-401BF5659341}" dt="2026-03-19T09:13:46.012" v="2341" actId="1036"/>
          <ac:picMkLst>
            <pc:docMk/>
            <pc:sldMk cId="3948463845" sldId="289"/>
            <ac:picMk id="5" creationId="{23984AF0-2A1A-023C-247D-D3868FD9D328}"/>
          </ac:picMkLst>
        </pc:picChg>
        <pc:picChg chg="add mod">
          <ac:chgData name="Loic Menzies" userId="d4797216ef32cd4a" providerId="LiveId" clId="{290C7C4C-BA08-4733-B4F5-401BF5659341}" dt="2026-03-19T09:10:41.690" v="2267"/>
          <ac:picMkLst>
            <pc:docMk/>
            <pc:sldMk cId="3948463845" sldId="289"/>
            <ac:picMk id="14" creationId="{BF384442-2800-0F3B-5C89-57DAA2FD5D8D}"/>
          </ac:picMkLst>
        </pc:picChg>
        <pc:picChg chg="add del mod">
          <ac:chgData name="Loic Menzies" userId="d4797216ef32cd4a" providerId="LiveId" clId="{290C7C4C-BA08-4733-B4F5-401BF5659341}" dt="2026-03-19T09:12:28.803" v="2299" actId="21"/>
          <ac:picMkLst>
            <pc:docMk/>
            <pc:sldMk cId="3948463845" sldId="289"/>
            <ac:picMk id="15" creationId="{22C95C3F-093F-10EE-05FB-24D212F928A1}"/>
          </ac:picMkLst>
        </pc:picChg>
        <pc:picChg chg="mod">
          <ac:chgData name="Loic Menzies" userId="d4797216ef32cd4a" providerId="LiveId" clId="{290C7C4C-BA08-4733-B4F5-401BF5659341}" dt="2026-03-19T09:12:21.950" v="2298" actId="1076"/>
          <ac:picMkLst>
            <pc:docMk/>
            <pc:sldMk cId="3948463845" sldId="289"/>
            <ac:picMk id="26" creationId="{4E931970-E3F4-3F0D-DD8C-2E99CD600055}"/>
          </ac:picMkLst>
        </pc:picChg>
        <pc:picChg chg="add mod">
          <ac:chgData name="Loic Menzies" userId="d4797216ef32cd4a" providerId="LiveId" clId="{290C7C4C-BA08-4733-B4F5-401BF5659341}" dt="2026-03-19T09:13:46.012" v="2341" actId="1036"/>
          <ac:picMkLst>
            <pc:docMk/>
            <pc:sldMk cId="3948463845" sldId="289"/>
            <ac:picMk id="28" creationId="{22C95C3F-093F-10EE-05FB-24D212F928A1}"/>
          </ac:picMkLst>
        </pc:picChg>
        <pc:cxnChg chg="del">
          <ac:chgData name="Loic Menzies" userId="d4797216ef32cd4a" providerId="LiveId" clId="{290C7C4C-BA08-4733-B4F5-401BF5659341}" dt="2026-03-19T09:08:54.850" v="2086" actId="478"/>
          <ac:cxnSpMkLst>
            <pc:docMk/>
            <pc:sldMk cId="3948463845" sldId="289"/>
            <ac:cxnSpMk id="12" creationId="{AABE4272-F7B5-6F59-C8D0-5D5F998B3B6B}"/>
          </ac:cxnSpMkLst>
        </pc:cxnChg>
        <pc:cxnChg chg="del">
          <ac:chgData name="Loic Menzies" userId="d4797216ef32cd4a" providerId="LiveId" clId="{290C7C4C-BA08-4733-B4F5-401BF5659341}" dt="2026-03-19T09:06:36.215" v="1860" actId="478"/>
          <ac:cxnSpMkLst>
            <pc:docMk/>
            <pc:sldMk cId="3948463845" sldId="289"/>
            <ac:cxnSpMk id="32" creationId="{3141C542-E379-C9CD-9D45-B60055C98CBA}"/>
          </ac:cxnSpMkLst>
        </pc:cxnChg>
        <pc:cxnChg chg="add del">
          <ac:chgData name="Loic Menzies" userId="d4797216ef32cd4a" providerId="LiveId" clId="{290C7C4C-BA08-4733-B4F5-401BF5659341}" dt="2026-03-19T09:08:00.650" v="2062" actId="478"/>
          <ac:cxnSpMkLst>
            <pc:docMk/>
            <pc:sldMk cId="3948463845" sldId="289"/>
            <ac:cxnSpMk id="63" creationId="{4CA65EA1-086B-7D47-B08F-1D0A5F1D47DF}"/>
          </ac:cxnSpMkLst>
        </pc:cxnChg>
        <pc:cxnChg chg="del">
          <ac:chgData name="Loic Menzies" userId="d4797216ef32cd4a" providerId="LiveId" clId="{290C7C4C-BA08-4733-B4F5-401BF5659341}" dt="2026-03-19T09:08:55.892" v="2087" actId="478"/>
          <ac:cxnSpMkLst>
            <pc:docMk/>
            <pc:sldMk cId="3948463845" sldId="289"/>
            <ac:cxnSpMk id="81" creationId="{48E91952-8DB1-7759-E844-A1A04623B148}"/>
          </ac:cxnSpMkLst>
        </pc:cxnChg>
        <pc:cxnChg chg="del">
          <ac:chgData name="Loic Menzies" userId="d4797216ef32cd4a" providerId="LiveId" clId="{290C7C4C-BA08-4733-B4F5-401BF5659341}" dt="2026-03-19T09:06:33.838" v="1859" actId="478"/>
          <ac:cxnSpMkLst>
            <pc:docMk/>
            <pc:sldMk cId="3948463845" sldId="289"/>
            <ac:cxnSpMk id="112" creationId="{B7B8B2A8-6AF3-CF05-3955-A2CA0CC6D0B7}"/>
          </ac:cxnSpMkLst>
        </pc:cxnChg>
        <pc:cxnChg chg="del">
          <ac:chgData name="Loic Menzies" userId="d4797216ef32cd4a" providerId="LiveId" clId="{290C7C4C-BA08-4733-B4F5-401BF5659341}" dt="2026-03-19T09:08:40.052" v="2077" actId="478"/>
          <ac:cxnSpMkLst>
            <pc:docMk/>
            <pc:sldMk cId="3948463845" sldId="289"/>
            <ac:cxnSpMk id="113" creationId="{712056FF-348A-7A2A-5E0C-96B81EF4B551}"/>
          </ac:cxnSpMkLst>
        </pc:cxnChg>
        <pc:cxnChg chg="add del">
          <ac:chgData name="Loic Menzies" userId="d4797216ef32cd4a" providerId="LiveId" clId="{290C7C4C-BA08-4733-B4F5-401BF5659341}" dt="2026-03-19T09:08:13.527" v="2063" actId="478"/>
          <ac:cxnSpMkLst>
            <pc:docMk/>
            <pc:sldMk cId="3948463845" sldId="289"/>
            <ac:cxnSpMk id="114" creationId="{A3432605-6CDA-0FDF-8E32-F2B8470ED44C}"/>
          </ac:cxnSpMkLst>
        </pc:cxnChg>
        <pc:cxnChg chg="add del">
          <ac:chgData name="Loic Menzies" userId="d4797216ef32cd4a" providerId="LiveId" clId="{290C7C4C-BA08-4733-B4F5-401BF5659341}" dt="2026-03-19T09:08:43.246" v="2079" actId="478"/>
          <ac:cxnSpMkLst>
            <pc:docMk/>
            <pc:sldMk cId="3948463845" sldId="289"/>
            <ac:cxnSpMk id="116" creationId="{485A2D32-0683-F1FE-9092-FE03636A5BFC}"/>
          </ac:cxnSpMkLst>
        </pc:cxnChg>
      </pc:sldChg>
      <pc:sldChg chg="modSp add mod">
        <pc:chgData name="Loic Menzies" userId="d4797216ef32cd4a" providerId="LiveId" clId="{290C7C4C-BA08-4733-B4F5-401BF5659341}" dt="2026-03-19T09:16:26.120" v="2496" actId="20577"/>
        <pc:sldMkLst>
          <pc:docMk/>
          <pc:sldMk cId="2565653428" sldId="290"/>
        </pc:sldMkLst>
        <pc:spChg chg="mod">
          <ac:chgData name="Loic Menzies" userId="d4797216ef32cd4a" providerId="LiveId" clId="{290C7C4C-BA08-4733-B4F5-401BF5659341}" dt="2026-03-19T09:16:26.120" v="2496" actId="20577"/>
          <ac:spMkLst>
            <pc:docMk/>
            <pc:sldMk cId="2565653428" sldId="290"/>
            <ac:spMk id="2" creationId="{1EC023FF-CB8C-6D9A-7813-F00839DC8C70}"/>
          </ac:spMkLst>
        </pc:spChg>
      </pc:sldChg>
      <pc:sldChg chg="modSp add mod">
        <pc:chgData name="Loic Menzies" userId="d4797216ef32cd4a" providerId="LiveId" clId="{290C7C4C-BA08-4733-B4F5-401BF5659341}" dt="2026-03-19T11:13:17.502" v="3977" actId="20577"/>
        <pc:sldMkLst>
          <pc:docMk/>
          <pc:sldMk cId="2908857461" sldId="291"/>
        </pc:sldMkLst>
        <pc:spChg chg="mod">
          <ac:chgData name="Loic Menzies" userId="d4797216ef32cd4a" providerId="LiveId" clId="{290C7C4C-BA08-4733-B4F5-401BF5659341}" dt="2026-03-19T11:13:17.502" v="3977" actId="20577"/>
          <ac:spMkLst>
            <pc:docMk/>
            <pc:sldMk cId="2908857461" sldId="291"/>
            <ac:spMk id="5" creationId="{D908FDEB-9DBC-FC63-72FA-8DB3014046AF}"/>
          </ac:spMkLst>
        </pc:spChg>
      </pc:sldChg>
      <pc:sldChg chg="add del">
        <pc:chgData name="Loic Menzies" userId="d4797216ef32cd4a" providerId="LiveId" clId="{290C7C4C-BA08-4733-B4F5-401BF5659341}" dt="2026-03-19T09:27:16.416" v="2955" actId="47"/>
        <pc:sldMkLst>
          <pc:docMk/>
          <pc:sldMk cId="1452030411" sldId="292"/>
        </pc:sldMkLst>
      </pc:sldChg>
      <pc:sldChg chg="addSp delSp modSp new mod">
        <pc:chgData name="Loic Menzies" userId="d4797216ef32cd4a" providerId="LiveId" clId="{290C7C4C-BA08-4733-B4F5-401BF5659341}" dt="2026-03-19T09:29:49.226" v="3043" actId="20577"/>
        <pc:sldMkLst>
          <pc:docMk/>
          <pc:sldMk cId="1641878512" sldId="292"/>
        </pc:sldMkLst>
        <pc:spChg chg="del">
          <ac:chgData name="Loic Menzies" userId="d4797216ef32cd4a" providerId="LiveId" clId="{290C7C4C-BA08-4733-B4F5-401BF5659341}" dt="2026-03-19T09:28:54.837" v="2957" actId="478"/>
          <ac:spMkLst>
            <pc:docMk/>
            <pc:sldMk cId="1641878512" sldId="292"/>
            <ac:spMk id="2" creationId="{4007E58C-00BB-6513-2025-10F9371C35C3}"/>
          </ac:spMkLst>
        </pc:spChg>
        <pc:spChg chg="add mod">
          <ac:chgData name="Loic Menzies" userId="d4797216ef32cd4a" providerId="LiveId" clId="{290C7C4C-BA08-4733-B4F5-401BF5659341}" dt="2026-03-19T09:29:49.226" v="3043" actId="20577"/>
          <ac:spMkLst>
            <pc:docMk/>
            <pc:sldMk cId="1641878512" sldId="292"/>
            <ac:spMk id="5" creationId="{C1F4425C-5D84-EA4D-B977-E1297D77EBF1}"/>
          </ac:spMkLst>
        </pc:spChg>
        <pc:picChg chg="add mod">
          <ac:chgData name="Loic Menzies" userId="d4797216ef32cd4a" providerId="LiveId" clId="{290C7C4C-BA08-4733-B4F5-401BF5659341}" dt="2026-03-19T09:29:11.544" v="2964" actId="1076"/>
          <ac:picMkLst>
            <pc:docMk/>
            <pc:sldMk cId="1641878512" sldId="292"/>
            <ac:picMk id="4" creationId="{528F36D2-B361-DFA7-B576-E45BDBA96D14}"/>
          </ac:picMkLst>
        </pc:picChg>
      </pc:sldChg>
      <pc:sldChg chg="add">
        <pc:chgData name="Loic Menzies" userId="d4797216ef32cd4a" providerId="LiveId" clId="{290C7C4C-BA08-4733-B4F5-401BF5659341}" dt="2026-03-19T09:27:08.848" v="2954"/>
        <pc:sldMkLst>
          <pc:docMk/>
          <pc:sldMk cId="1514017381" sldId="293"/>
        </pc:sldMkLst>
      </pc:sldChg>
      <pc:sldChg chg="modSp add mod">
        <pc:chgData name="Loic Menzies" userId="d4797216ef32cd4a" providerId="LiveId" clId="{290C7C4C-BA08-4733-B4F5-401BF5659341}" dt="2026-03-19T09:36:22.168" v="3103" actId="20577"/>
        <pc:sldMkLst>
          <pc:docMk/>
          <pc:sldMk cId="2102790310" sldId="294"/>
        </pc:sldMkLst>
        <pc:spChg chg="mod">
          <ac:chgData name="Loic Menzies" userId="d4797216ef32cd4a" providerId="LiveId" clId="{290C7C4C-BA08-4733-B4F5-401BF5659341}" dt="2026-03-19T09:36:22.168" v="3103" actId="20577"/>
          <ac:spMkLst>
            <pc:docMk/>
            <pc:sldMk cId="2102790310" sldId="294"/>
            <ac:spMk id="2" creationId="{DD75D252-295D-9FC9-55FC-76080CC457A0}"/>
          </ac:spMkLst>
        </pc:spChg>
      </pc:sldChg>
      <pc:sldChg chg="modSp add mod">
        <pc:chgData name="Loic Menzies" userId="d4797216ef32cd4a" providerId="LiveId" clId="{290C7C4C-BA08-4733-B4F5-401BF5659341}" dt="2026-03-19T09:36:03.179" v="3085" actId="20577"/>
        <pc:sldMkLst>
          <pc:docMk/>
          <pc:sldMk cId="4111439961" sldId="295"/>
        </pc:sldMkLst>
        <pc:spChg chg="mod">
          <ac:chgData name="Loic Menzies" userId="d4797216ef32cd4a" providerId="LiveId" clId="{290C7C4C-BA08-4733-B4F5-401BF5659341}" dt="2026-03-19T09:36:03.179" v="3085" actId="20577"/>
          <ac:spMkLst>
            <pc:docMk/>
            <pc:sldMk cId="4111439961" sldId="295"/>
            <ac:spMk id="56" creationId="{0929EDE5-C50D-FF56-FF91-895433393768}"/>
          </ac:spMkLst>
        </pc:spChg>
      </pc:sldChg>
      <pc:sldChg chg="modSp add mod">
        <pc:chgData name="Loic Menzies" userId="d4797216ef32cd4a" providerId="LiveId" clId="{290C7C4C-BA08-4733-B4F5-401BF5659341}" dt="2026-03-19T11:14:08.733" v="4014" actId="20577"/>
        <pc:sldMkLst>
          <pc:docMk/>
          <pc:sldMk cId="1559879152" sldId="296"/>
        </pc:sldMkLst>
        <pc:spChg chg="mod">
          <ac:chgData name="Loic Menzies" userId="d4797216ef32cd4a" providerId="LiveId" clId="{290C7C4C-BA08-4733-B4F5-401BF5659341}" dt="2026-03-19T09:38:15.390" v="3227" actId="1036"/>
          <ac:spMkLst>
            <pc:docMk/>
            <pc:sldMk cId="1559879152" sldId="296"/>
            <ac:spMk id="2" creationId="{1E6B1743-1F23-589C-9A8D-2C95C62D69FD}"/>
          </ac:spMkLst>
        </pc:spChg>
        <pc:spChg chg="mod">
          <ac:chgData name="Loic Menzies" userId="d4797216ef32cd4a" providerId="LiveId" clId="{290C7C4C-BA08-4733-B4F5-401BF5659341}" dt="2026-03-19T11:14:08.733" v="4014" actId="20577"/>
          <ac:spMkLst>
            <pc:docMk/>
            <pc:sldMk cId="1559879152" sldId="296"/>
            <ac:spMk id="5" creationId="{7A35C75A-8A16-33ED-51E3-C782E03E5EE4}"/>
          </ac:spMkLst>
        </pc:spChg>
      </pc:sldChg>
      <pc:sldChg chg="del">
        <pc:chgData name="Loic Menzies" userId="d4797216ef32cd4a" providerId="LiveId" clId="{290C7C4C-BA08-4733-B4F5-401BF5659341}" dt="2026-03-19T09:47:29.157" v="3499" actId="47"/>
        <pc:sldMkLst>
          <pc:docMk/>
          <pc:sldMk cId="1398650457" sldId="2147478358"/>
        </pc:sldMkLst>
      </pc:sldChg>
      <pc:sldChg chg="del">
        <pc:chgData name="Loic Menzies" userId="d4797216ef32cd4a" providerId="LiveId" clId="{290C7C4C-BA08-4733-B4F5-401BF5659341}" dt="2026-03-19T09:38:58.985" v="3228" actId="47"/>
        <pc:sldMkLst>
          <pc:docMk/>
          <pc:sldMk cId="4042519313" sldId="2147480166"/>
        </pc:sldMkLst>
      </pc:sldChg>
      <pc:sldChg chg="modSp mod">
        <pc:chgData name="Loic Menzies" userId="d4797216ef32cd4a" providerId="LiveId" clId="{290C7C4C-BA08-4733-B4F5-401BF5659341}" dt="2026-03-19T08:14:08.174" v="588" actId="207"/>
        <pc:sldMkLst>
          <pc:docMk/>
          <pc:sldMk cId="2288638672" sldId="2147483636"/>
        </pc:sldMkLst>
        <pc:spChg chg="mod">
          <ac:chgData name="Loic Menzies" userId="d4797216ef32cd4a" providerId="LiveId" clId="{290C7C4C-BA08-4733-B4F5-401BF5659341}" dt="2026-03-19T08:14:08.174" v="588" actId="207"/>
          <ac:spMkLst>
            <pc:docMk/>
            <pc:sldMk cId="2288638672" sldId="2147483636"/>
            <ac:spMk id="4" creationId="{7F6FAD5F-DC34-5382-D7D6-FD137D2D1D2D}"/>
          </ac:spMkLst>
        </pc:spChg>
        <pc:picChg chg="mod">
          <ac:chgData name="Loic Menzies" userId="d4797216ef32cd4a" providerId="LiveId" clId="{290C7C4C-BA08-4733-B4F5-401BF5659341}" dt="2026-03-19T08:13:30.541" v="578" actId="1036"/>
          <ac:picMkLst>
            <pc:docMk/>
            <pc:sldMk cId="2288638672" sldId="2147483636"/>
            <ac:picMk id="6" creationId="{124B9BD1-F6E3-A888-1D1E-6142B028E872}"/>
          </ac:picMkLst>
        </pc:picChg>
      </pc:sldChg>
      <pc:sldChg chg="del">
        <pc:chgData name="Loic Menzies" userId="d4797216ef32cd4a" providerId="LiveId" clId="{290C7C4C-BA08-4733-B4F5-401BF5659341}" dt="2026-03-19T09:47:29.157" v="3499" actId="47"/>
        <pc:sldMkLst>
          <pc:docMk/>
          <pc:sldMk cId="2564127217" sldId="2147483638"/>
        </pc:sldMkLst>
      </pc:sldChg>
      <pc:sldChg chg="modSp mod">
        <pc:chgData name="Loic Menzies" userId="d4797216ef32cd4a" providerId="LiveId" clId="{290C7C4C-BA08-4733-B4F5-401BF5659341}" dt="2026-03-19T09:36:47.738" v="3105"/>
        <pc:sldMkLst>
          <pc:docMk/>
          <pc:sldMk cId="3500991893" sldId="2147483640"/>
        </pc:sldMkLst>
        <pc:spChg chg="mod">
          <ac:chgData name="Loic Menzies" userId="d4797216ef32cd4a" providerId="LiveId" clId="{290C7C4C-BA08-4733-B4F5-401BF5659341}" dt="2026-03-19T09:36:47.738" v="3105"/>
          <ac:spMkLst>
            <pc:docMk/>
            <pc:sldMk cId="3500991893" sldId="2147483640"/>
            <ac:spMk id="2" creationId="{8DED4F98-5704-82A8-DD3D-7195D950A5B4}"/>
          </ac:spMkLst>
        </pc:spChg>
      </pc:sldChg>
      <pc:sldChg chg="del">
        <pc:chgData name="Loic Menzies" userId="d4797216ef32cd4a" providerId="LiveId" clId="{290C7C4C-BA08-4733-B4F5-401BF5659341}" dt="2026-03-19T09:47:29.157" v="3499" actId="47"/>
        <pc:sldMkLst>
          <pc:docMk/>
          <pc:sldMk cId="1887401458" sldId="2147483642"/>
        </pc:sldMkLst>
      </pc:sldChg>
      <pc:sldChg chg="del">
        <pc:chgData name="Loic Menzies" userId="d4797216ef32cd4a" providerId="LiveId" clId="{290C7C4C-BA08-4733-B4F5-401BF5659341}" dt="2026-03-19T09:38:58.985" v="3228" actId="47"/>
        <pc:sldMkLst>
          <pc:docMk/>
          <pc:sldMk cId="2073829999" sldId="2147483644"/>
        </pc:sldMkLst>
      </pc:sldChg>
      <pc:sldChg chg="del">
        <pc:chgData name="Loic Menzies" userId="d4797216ef32cd4a" providerId="LiveId" clId="{290C7C4C-BA08-4733-B4F5-401BF5659341}" dt="2026-03-19T09:47:29.157" v="3499" actId="47"/>
        <pc:sldMkLst>
          <pc:docMk/>
          <pc:sldMk cId="827706441" sldId="2147483645"/>
        </pc:sldMkLst>
      </pc:sldChg>
      <pc:sldChg chg="del">
        <pc:chgData name="Loic Menzies" userId="d4797216ef32cd4a" providerId="LiveId" clId="{290C7C4C-BA08-4733-B4F5-401BF5659341}" dt="2026-03-19T09:47:29.157" v="3499" actId="47"/>
        <pc:sldMkLst>
          <pc:docMk/>
          <pc:sldMk cId="823198828" sldId="2147483646"/>
        </pc:sldMkLst>
      </pc:sldChg>
      <pc:sldChg chg="del">
        <pc:chgData name="Loic Menzies" userId="d4797216ef32cd4a" providerId="LiveId" clId="{290C7C4C-BA08-4733-B4F5-401BF5659341}" dt="2026-03-19T09:47:29.157" v="3499" actId="47"/>
        <pc:sldMkLst>
          <pc:docMk/>
          <pc:sldMk cId="252706111" sldId="21474836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30/26</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3/3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775885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1ACD0-4F17-63AD-8C3E-B3DF6A3C8E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4A81CD-B27F-89DF-F187-7FF646D958E3}"/>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56EB5CC7-E5CA-196B-DDCF-809C148919B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8D179E-3045-5654-A973-061C35F69516}"/>
              </a:ext>
            </a:extLst>
          </p:cNvPr>
          <p:cNvSpPr>
            <a:spLocks noGrp="1"/>
          </p:cNvSpPr>
          <p:nvPr>
            <p:ph type="sldNum" sz="quarter" idx="5"/>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42307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5640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71E17-9F2B-C5C5-7AAE-E3713C7295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7FBDA4-863C-87AB-8856-818F533F5DC2}"/>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C8D8FEA8-E94C-A699-26ED-8A2E6A13EA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945AEC-5CB0-810B-D2FF-16F9918B6C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90954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txBody>
          <a:bodyPr/>
          <a:lstStyle/>
          <a:p>
            <a:endParaRPr lang="en-GB"/>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1488546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txBody>
          <a:bodyPr/>
          <a:lstStyle/>
          <a:p>
            <a:endParaRPr lang="en-GB"/>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28706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89.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2.jpe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10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07.xml"/><Relationship Id="rId7" Type="http://schemas.openxmlformats.org/officeDocument/2006/relationships/image" Target="../media/image2.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108.xml"/><Relationship Id="rId9" Type="http://schemas.openxmlformats.org/officeDocument/2006/relationships/image" Target="../media/image12.jpe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109.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110.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2.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6.xml"/><Relationship Id="rId7" Type="http://schemas.openxmlformats.org/officeDocument/2006/relationships/image" Target="../media/image2.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22.bin"/><Relationship Id="rId5" Type="http://schemas.openxmlformats.org/officeDocument/2006/relationships/slideMaster" Target="../slideMasters/slideMaster3.xml"/><Relationship Id="rId4" Type="http://schemas.openxmlformats.org/officeDocument/2006/relationships/tags" Target="../tags/tag117.xml"/><Relationship Id="rId9" Type="http://schemas.openxmlformats.org/officeDocument/2006/relationships/image" Target="../media/image12.jpe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118.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119.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2.jpe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125.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126.xml"/><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13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13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7.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38.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39.xml"/><Relationship Id="rId4" Type="http://schemas.openxmlformats.org/officeDocument/2006/relationships/image" Target="../media/image4.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40.xml"/><Relationship Id="rId4" Type="http://schemas.openxmlformats.org/officeDocument/2006/relationships/image" Target="../media/image4.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2.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4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4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8.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9.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5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5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5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5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5.xml"/><Relationship Id="rId4" Type="http://schemas.openxmlformats.org/officeDocument/2006/relationships/image" Target="../media/image4.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6.xml"/><Relationship Id="rId4" Type="http://schemas.openxmlformats.org/officeDocument/2006/relationships/image" Target="../media/image4.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57.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8.xml"/><Relationship Id="rId4" Type="http://schemas.openxmlformats.org/officeDocument/2006/relationships/image" Target="../media/image4.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59.xml"/><Relationship Id="rId4" Type="http://schemas.openxmlformats.org/officeDocument/2006/relationships/image" Target="../media/image4.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60.xml"/><Relationship Id="rId4" Type="http://schemas.openxmlformats.org/officeDocument/2006/relationships/image" Target="../media/image4.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61.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6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63.xml"/><Relationship Id="rId4" Type="http://schemas.openxmlformats.org/officeDocument/2006/relationships/image" Target="../media/image4.emf"/></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66.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67.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68.xml"/><Relationship Id="rId4" Type="http://schemas.openxmlformats.org/officeDocument/2006/relationships/image" Target="../media/image4.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69.xml"/><Relationship Id="rId4" Type="http://schemas.openxmlformats.org/officeDocument/2006/relationships/image" Target="../media/image4.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4.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2.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4.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7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7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7.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8.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79.xml"/><Relationship Id="rId5" Type="http://schemas.openxmlformats.org/officeDocument/2006/relationships/image" Target="../media/image10.png"/><Relationship Id="rId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8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85.xml"/><Relationship Id="rId4" Type="http://schemas.openxmlformats.org/officeDocument/2006/relationships/image" Target="../media/image4.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86.xml"/><Relationship Id="rId4" Type="http://schemas.openxmlformats.org/officeDocument/2006/relationships/image" Target="../media/image4.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87.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8.xml"/><Relationship Id="rId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4.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4.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92.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4.emf"/></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9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94.xml"/><Relationship Id="rId4" Type="http://schemas.openxmlformats.org/officeDocument/2006/relationships/image" Target="../media/image4.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97.xml"/><Relationship Id="rId4" Type="http://schemas.openxmlformats.org/officeDocument/2006/relationships/image" Target="../media/image1.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98.xml"/><Relationship Id="rId4" Type="http://schemas.openxmlformats.org/officeDocument/2006/relationships/image" Target="../media/image1.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9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02.xml"/><Relationship Id="rId4"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03.xml"/><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0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09.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0.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11.xml"/><Relationship Id="rId4" Type="http://schemas.openxmlformats.org/officeDocument/2006/relationships/image" Target="../media/image4.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12.xml"/><Relationship Id="rId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13.xml"/><Relationship Id="rId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1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1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1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4.emf"/></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17.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1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1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2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27.xml"/><Relationship Id="rId4" Type="http://schemas.openxmlformats.org/officeDocument/2006/relationships/image" Target="../media/image4.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28.xml"/><Relationship Id="rId4" Type="http://schemas.openxmlformats.org/officeDocument/2006/relationships/image" Target="../media/image4.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29.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30.xml"/><Relationship Id="rId4" Type="http://schemas.openxmlformats.org/officeDocument/2006/relationships/image" Target="../media/image4.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31.xml"/><Relationship Id="rId4" Type="http://schemas.openxmlformats.org/officeDocument/2006/relationships/image" Target="../media/image4.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2.xml"/><Relationship Id="rId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33.xml"/><Relationship Id="rId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3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5.xml"/><Relationship Id="rId4" Type="http://schemas.openxmlformats.org/officeDocument/2006/relationships/image" Target="../media/image4.emf"/></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8.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9.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40.xml"/><Relationship Id="rId4" Type="http://schemas.openxmlformats.org/officeDocument/2006/relationships/image" Target="../media/image4.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41.xml"/><Relationship Id="rId4" Type="http://schemas.openxmlformats.org/officeDocument/2006/relationships/image" Target="../media/image4.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42.xml"/><Relationship Id="rId4" Type="http://schemas.openxmlformats.org/officeDocument/2006/relationships/image" Target="../media/image4.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47.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4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9.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1.xml"/><Relationship Id="rId5" Type="http://schemas.openxmlformats.org/officeDocument/2006/relationships/image" Target="../media/image10.png"/><Relationship Id="rId4" Type="http://schemas.openxmlformats.org/officeDocument/2006/relationships/image" Target="../media/image4.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5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25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7.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8.xml"/><Relationship Id="rId4" Type="http://schemas.openxmlformats.org/officeDocument/2006/relationships/image" Target="../media/image4.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9.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60.xml"/><Relationship Id="rId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6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62.xml"/><Relationship Id="rId4" Type="http://schemas.openxmlformats.org/officeDocument/2006/relationships/image" Target="../media/image4.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63.xml"/><Relationship Id="rId4" Type="http://schemas.openxmlformats.org/officeDocument/2006/relationships/image" Target="../media/image4.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64.xml"/><Relationship Id="rId4" Type="http://schemas.openxmlformats.org/officeDocument/2006/relationships/image" Target="../media/image4.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6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66.xml"/><Relationship Id="rId4" Type="http://schemas.openxmlformats.org/officeDocument/2006/relationships/image" Target="../media/image4.emf"/></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269.xml"/><Relationship Id="rId4" Type="http://schemas.openxmlformats.org/officeDocument/2006/relationships/image" Target="../media/image1.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0.xml"/><Relationship Id="rId4" Type="http://schemas.openxmlformats.org/officeDocument/2006/relationships/image" Target="../media/image1.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27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3.xml"/><Relationship Id="rId1" Type="http://schemas.openxmlformats.org/officeDocument/2006/relationships/tags" Target="../tags/tag272.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74.xml"/><Relationship Id="rId4" Type="http://schemas.openxmlformats.org/officeDocument/2006/relationships/image" Target="../media/image1.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75.xml"/><Relationship Id="rId4" Type="http://schemas.openxmlformats.org/officeDocument/2006/relationships/image" Target="../media/image1.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7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7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0.png"/><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7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7.xml"/><Relationship Id="rId7" Type="http://schemas.openxmlformats.org/officeDocument/2006/relationships/image" Target="../media/image2.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8.xml"/><Relationship Id="rId9" Type="http://schemas.openxmlformats.org/officeDocument/2006/relationships/image" Target="../media/image12.jpe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2.jpe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6.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87.xml"/><Relationship Id="rId9" Type="http://schemas.openxmlformats.org/officeDocument/2006/relationships/image" Target="../media/image12.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164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A85A4732-2F33-4385-A197-BEA58AE19F2E}"/>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5650BC8D-3610-42B6-A945-BF2EF110C559}"/>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86D78A92-0EA9-4A05-8873-A99CB7E53E8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5" name="Title 4">
            <a:extLst>
              <a:ext uri="{FF2B5EF4-FFF2-40B4-BE49-F238E27FC236}">
                <a16:creationId xmlns:a16="http://schemas.microsoft.com/office/drawing/2014/main" id="{C5F4C152-A981-4E3C-BFA6-E81005567DCF}"/>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8" name="Text Placeholder 27">
            <a:extLst>
              <a:ext uri="{FF2B5EF4-FFF2-40B4-BE49-F238E27FC236}">
                <a16:creationId xmlns:a16="http://schemas.microsoft.com/office/drawing/2014/main" id="{970461A4-5BF6-430C-AE97-D6BBEF281DDA}"/>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31" name="Text Placeholder 27">
            <a:extLst>
              <a:ext uri="{FF2B5EF4-FFF2-40B4-BE49-F238E27FC236}">
                <a16:creationId xmlns:a16="http://schemas.microsoft.com/office/drawing/2014/main" id="{F087F99F-53B3-4D3D-BB89-F5B2D3AF0BC7}"/>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AE52FD-78CA-4E2C-ADBF-6DAE497A73D0}"/>
              </a:ext>
            </a:extLst>
          </p:cNvPr>
          <p:cNvGraphicFramePr>
            <a:graphicFrameLocks noChangeAspect="1"/>
          </p:cNvGraphicFramePr>
          <p:nvPr userDrawn="1">
            <p:custDataLst>
              <p:tags r:id="rId1"/>
            </p:custDataLst>
            <p:extLst>
              <p:ext uri="{D42A27DB-BD31-4B8C-83A1-F6EECF244321}">
                <p14:modId xmlns:p14="http://schemas.microsoft.com/office/powerpoint/2010/main" val="147427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0BAE52FD-78CA-4E2C-ADBF-6DAE497A7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939A6F1A-4EBC-496D-A433-03C106A3D59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2383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234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0123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0370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67304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726921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3175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648785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66336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817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286D79-0943-4E90-936D-ABF66DD6DDEE}"/>
              </a:ext>
            </a:extLst>
          </p:cNvPr>
          <p:cNvGraphicFramePr>
            <a:graphicFrameLocks noChangeAspect="1"/>
          </p:cNvGraphicFramePr>
          <p:nvPr userDrawn="1">
            <p:custDataLst>
              <p:tags r:id="rId1"/>
            </p:custDataLst>
            <p:extLst>
              <p:ext uri="{D42A27DB-BD31-4B8C-83A1-F6EECF244321}">
                <p14:modId xmlns:p14="http://schemas.microsoft.com/office/powerpoint/2010/main" val="175542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1286D79-0943-4E90-936D-ABF66DD6DD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TextBox 16">
            <a:extLst>
              <a:ext uri="{FF2B5EF4-FFF2-40B4-BE49-F238E27FC236}">
                <a16:creationId xmlns:a16="http://schemas.microsoft.com/office/drawing/2014/main" id="{983CE9E3-A6B0-4FFC-8C45-F992ABD131C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3528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8558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74907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36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41814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605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0227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546885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538416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053187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6136DB-5336-4120-9768-E44D77E60A10}"/>
              </a:ext>
            </a:extLst>
          </p:cNvPr>
          <p:cNvGraphicFramePr>
            <a:graphicFrameLocks noChangeAspect="1"/>
          </p:cNvGraphicFramePr>
          <p:nvPr userDrawn="1">
            <p:custDataLst>
              <p:tags r:id="rId1"/>
            </p:custDataLst>
            <p:extLst>
              <p:ext uri="{D42A27DB-BD31-4B8C-83A1-F6EECF244321}">
                <p14:modId xmlns:p14="http://schemas.microsoft.com/office/powerpoint/2010/main" val="105435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B96136DB-5336-4120-9768-E44D77E60A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8D4B112-5040-4D4E-9EC1-0406E1482DC4}"/>
              </a:ext>
            </a:extLst>
          </p:cNvPr>
          <p:cNvSpPr>
            <a:spLocks noGrp="1"/>
          </p:cNvSpPr>
          <p:nvPr>
            <p:ph type="title" hasCustomPrompt="1"/>
          </p:nvPr>
        </p:nvSpPr>
        <p:spPr>
          <a:xfrm>
            <a:off x="630000" y="2764203"/>
            <a:ext cx="2478638" cy="1314310"/>
          </a:xfrm>
        </p:spPr>
        <p:txBody>
          <a:bodyPr vert="horz" anchor="ctr"/>
          <a:lstStyle>
            <a:lvl1pPr>
              <a:defRPr sz="3400">
                <a:latin typeface="+mj-lt"/>
                <a:ea typeface="+mj-ea"/>
                <a:cs typeface="+mj-cs"/>
              </a:defRPr>
            </a:lvl1pPr>
          </a:lstStyle>
          <a:p>
            <a:r>
              <a:rPr lang="en-US"/>
              <a:t>Click to add title</a:t>
            </a:r>
          </a:p>
        </p:txBody>
      </p:sp>
      <p:sp>
        <p:nvSpPr>
          <p:cNvPr id="22" name="TextBox 21">
            <a:extLst>
              <a:ext uri="{FF2B5EF4-FFF2-40B4-BE49-F238E27FC236}">
                <a16:creationId xmlns:a16="http://schemas.microsoft.com/office/drawing/2014/main" id="{EA131D20-D2EB-4EB1-BE4F-CD20E14328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14328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287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885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591123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ct val="0"/>
              </a:spcBef>
              <a:spcAft>
                <a:spcPct val="0"/>
              </a:spcAft>
              <a:buClrTx/>
              <a:buSzTx/>
              <a:buFontTx/>
              <a:buNone/>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flipH="1">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161155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65403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777820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ct val="0"/>
              </a:spcBef>
              <a:spcAft>
                <a:spcPct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ct val="0"/>
              </a:spcBef>
              <a:spcAft>
                <a:spcPct val="0"/>
              </a:spcAft>
            </a:pPr>
            <a:r>
              <a:rPr lang="en-US" sz="5400">
                <a:solidFill>
                  <a:schemeClr val="bg1"/>
                </a:solidFill>
                <a:latin typeface="+mj-lt"/>
              </a:rPr>
              <a:t>Agenda</a:t>
            </a:r>
          </a:p>
        </p:txBody>
      </p:sp>
    </p:spTree>
    <p:extLst>
      <p:ext uri="{BB962C8B-B14F-4D97-AF65-F5344CB8AC3E}">
        <p14:creationId xmlns:p14="http://schemas.microsoft.com/office/powerpoint/2010/main" val="257062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ct val="0"/>
              </a:spcBef>
              <a:spcAft>
                <a:spcPct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566767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107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8C18E8-82A7-4C50-8341-9782E0A64026}"/>
              </a:ext>
            </a:extLst>
          </p:cNvPr>
          <p:cNvGraphicFramePr>
            <a:graphicFrameLocks noChangeAspect="1"/>
          </p:cNvGraphicFramePr>
          <p:nvPr userDrawn="1">
            <p:custDataLst>
              <p:tags r:id="rId1"/>
            </p:custDataLst>
            <p:extLst>
              <p:ext uri="{D42A27DB-BD31-4B8C-83A1-F6EECF244321}">
                <p14:modId xmlns:p14="http://schemas.microsoft.com/office/powerpoint/2010/main" val="72508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9C8C18E8-82A7-4C50-8341-9782E0A64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9" name="TextBox 18">
            <a:extLst>
              <a:ext uri="{FF2B5EF4-FFF2-40B4-BE49-F238E27FC236}">
                <a16:creationId xmlns:a16="http://schemas.microsoft.com/office/drawing/2014/main" id="{85FFBF2F-228F-4BB0-8249-F2AF0C4BC19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503010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ct val="0"/>
              </a:spcBef>
              <a:spcAft>
                <a:spcPct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ct val="0"/>
              </a:spcBef>
              <a:spcAft>
                <a:spcPct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714104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ct val="0"/>
              </a:spcBef>
              <a:spcAft>
                <a:spcPct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04905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477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602805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027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08628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06435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ct val="0"/>
              </a:spcBef>
              <a:spcAft>
                <a:spcPct val="0"/>
              </a:spcAft>
              <a:defRPr sz="2000"/>
            </a:lvl1pPr>
            <a:lvl2pPr>
              <a:lnSpc>
                <a:spcPct val="100000"/>
              </a:lnSpc>
              <a:spcBef>
                <a:spcPct val="0"/>
              </a:spcBef>
              <a:spcAft>
                <a:spcPct val="0"/>
              </a:spcAft>
              <a:defRPr sz="2000"/>
            </a:lvl2pPr>
            <a:lvl3pPr>
              <a:lnSpc>
                <a:spcPct val="100000"/>
              </a:lnSpc>
              <a:spcBef>
                <a:spcPct val="0"/>
              </a:spcBef>
              <a:spcAft>
                <a:spcPct val="0"/>
              </a:spcAft>
              <a:defRPr sz="2000"/>
            </a:lvl3pPr>
            <a:lvl4pPr>
              <a:lnSpc>
                <a:spcPct val="100000"/>
              </a:lnSpc>
              <a:spcBef>
                <a:spcPct val="0"/>
              </a:spcBef>
              <a:spcAft>
                <a:spcPct val="0"/>
              </a:spcAft>
              <a:defRPr sz="2800"/>
            </a:lvl4pPr>
            <a:lvl5pPr>
              <a:lnSpc>
                <a:spcPct val="100000"/>
              </a:lnSpc>
              <a:spcBef>
                <a:spcPct val="0"/>
              </a:spcBef>
              <a:spcAft>
                <a:spcPct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3892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828366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5232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2A47957-D0A1-4F95-B614-03EF4678D79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36788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5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05942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32760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253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857409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1395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22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87311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017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F9B664-2F23-4F08-83F6-0FA280702B54}"/>
              </a:ext>
            </a:extLst>
          </p:cNvPr>
          <p:cNvGraphicFramePr>
            <a:graphicFrameLocks noChangeAspect="1"/>
          </p:cNvGraphicFramePr>
          <p:nvPr userDrawn="1">
            <p:custDataLst>
              <p:tags r:id="rId1"/>
            </p:custDataLst>
            <p:extLst>
              <p:ext uri="{D42A27DB-BD31-4B8C-83A1-F6EECF244321}">
                <p14:modId xmlns:p14="http://schemas.microsoft.com/office/powerpoint/2010/main" val="228512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6AF9B664-2F23-4F08-83F6-0FA280702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a:extLst>
              <a:ext uri="{FF2B5EF4-FFF2-40B4-BE49-F238E27FC236}">
                <a16:creationId xmlns:a16="http://schemas.microsoft.com/office/drawing/2014/main" id="{8F4A34E1-683A-4C27-A5E7-0FDD4FCA23E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06097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566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03126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746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34966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6820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516347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452704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7050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92916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FDBBAF-D6DF-4302-838F-6C60A64A6782}"/>
              </a:ext>
            </a:extLst>
          </p:cNvPr>
          <p:cNvGraphicFramePr>
            <a:graphicFrameLocks noChangeAspect="1"/>
          </p:cNvGraphicFramePr>
          <p:nvPr userDrawn="1">
            <p:custDataLst>
              <p:tags r:id="rId1"/>
            </p:custDataLst>
            <p:extLst>
              <p:ext uri="{D42A27DB-BD31-4B8C-83A1-F6EECF244321}">
                <p14:modId xmlns:p14="http://schemas.microsoft.com/office/powerpoint/2010/main" val="406022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FBFDBBAF-D6DF-4302-838F-6C60A64A6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2B038D75-A588-4511-8B61-FAC002D499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423207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ct val="0"/>
              </a:spcBef>
              <a:spcAft>
                <a:spcPct val="0"/>
              </a:spcAft>
              <a:buClrTx/>
              <a:buSzTx/>
              <a:buFontTx/>
              <a:buNone/>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flipH="1">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67318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50309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12482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649134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99968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ct val="0"/>
              </a:spcBef>
              <a:spcAft>
                <a:spcPct val="0"/>
              </a:spcAft>
              <a:defRPr/>
            </a:lvl1pPr>
            <a:lvl2pPr>
              <a:lnSpc>
                <a:spcPct val="100000"/>
              </a:lnSpc>
              <a:spcBef>
                <a:spcPct val="0"/>
              </a:spcBef>
              <a:spcAft>
                <a:spcPct val="0"/>
              </a:spcAft>
              <a:defRPr/>
            </a:lvl2pPr>
            <a:lvl3pPr>
              <a:lnSpc>
                <a:spcPct val="100000"/>
              </a:lnSpc>
              <a:spcBef>
                <a:spcPct val="0"/>
              </a:spcBef>
              <a:spcAft>
                <a:spcPct val="0"/>
              </a:spcAft>
              <a:defRPr/>
            </a:lvl3pPr>
            <a:lvl4pPr>
              <a:lnSpc>
                <a:spcPct val="100000"/>
              </a:lnSpc>
              <a:spcBef>
                <a:spcPct val="0"/>
              </a:spcBef>
              <a:spcAft>
                <a:spcPct val="0"/>
              </a:spcAft>
              <a:defRPr/>
            </a:lvl4pPr>
            <a:lvl5pPr>
              <a:lnSpc>
                <a:spcPct val="100000"/>
              </a:lnSpc>
              <a:spcBef>
                <a:spcPct val="0"/>
              </a:spcBef>
              <a:spcAft>
                <a:spcPct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89172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9785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19193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3466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C30748-C5B3-41B2-B071-24182760D4BC}"/>
              </a:ext>
            </a:extLst>
          </p:cNvPr>
          <p:cNvGraphicFramePr>
            <a:graphicFrameLocks noChangeAspect="1"/>
          </p:cNvGraphicFramePr>
          <p:nvPr userDrawn="1">
            <p:custDataLst>
              <p:tags r:id="rId1"/>
            </p:custDataLst>
            <p:extLst>
              <p:ext uri="{D42A27DB-BD31-4B8C-83A1-F6EECF244321}">
                <p14:modId xmlns:p14="http://schemas.microsoft.com/office/powerpoint/2010/main" val="206399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7DC30748-C5B3-41B2-B071-24182760D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TextBox 17">
            <a:extLst>
              <a:ext uri="{FF2B5EF4-FFF2-40B4-BE49-F238E27FC236}">
                <a16:creationId xmlns:a16="http://schemas.microsoft.com/office/drawing/2014/main" id="{447209EA-6BC9-4C36-BA74-CBB0BC43A3E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45223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47397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4103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6232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718842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52597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347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17306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110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5939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B401D2-EF86-4E9A-A4AE-DD63244F4E40}"/>
              </a:ext>
            </a:extLst>
          </p:cNvPr>
          <p:cNvGraphicFramePr>
            <a:graphicFrameLocks noChangeAspect="1"/>
          </p:cNvGraphicFramePr>
          <p:nvPr userDrawn="1">
            <p:custDataLst>
              <p:tags r:id="rId1"/>
            </p:custDataLst>
            <p:extLst>
              <p:ext uri="{D42A27DB-BD31-4B8C-83A1-F6EECF244321}">
                <p14:modId xmlns:p14="http://schemas.microsoft.com/office/powerpoint/2010/main" val="112657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9B401D2-EF86-4E9A-A4AE-DD63244F4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372848"/>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A6BB492D-734B-4FE6-ADAE-5011DE01A5F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879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7408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808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48304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818272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60458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612320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77767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72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7745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FE409A-D47F-4F8B-89BA-A1F30A0E50B2}"/>
              </a:ext>
            </a:extLst>
          </p:cNvPr>
          <p:cNvGraphicFramePr>
            <a:graphicFrameLocks noChangeAspect="1"/>
          </p:cNvGraphicFramePr>
          <p:nvPr userDrawn="1">
            <p:custDataLst>
              <p:tags r:id="rId1"/>
            </p:custDataLst>
            <p:extLst>
              <p:ext uri="{D42A27DB-BD31-4B8C-83A1-F6EECF244321}">
                <p14:modId xmlns:p14="http://schemas.microsoft.com/office/powerpoint/2010/main" val="151385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BFE409A-D47F-4F8B-89BA-A1F30A0E5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1" name="TextBox 20">
            <a:extLst>
              <a:ext uri="{FF2B5EF4-FFF2-40B4-BE49-F238E27FC236}">
                <a16:creationId xmlns:a16="http://schemas.microsoft.com/office/drawing/2014/main" id="{197E209B-C8AC-4092-8EAE-558742F2031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774095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ct val="0"/>
              </a:spcBef>
              <a:spcAft>
                <a:spcPct val="0"/>
              </a:spcAft>
              <a:buClrTx/>
              <a:buSzTx/>
              <a:buFontTx/>
              <a:buNone/>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flipH="1">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539671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922627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50991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ct val="0"/>
              </a:spcBef>
              <a:spcAft>
                <a:spcPct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ct val="0"/>
              </a:spcBef>
              <a:spcAft>
                <a:spcPct val="0"/>
              </a:spcAft>
            </a:pPr>
            <a:r>
              <a:rPr lang="en-US" sz="5400">
                <a:solidFill>
                  <a:schemeClr val="bg1"/>
                </a:solidFill>
                <a:latin typeface="+mj-lt"/>
              </a:rPr>
              <a:t>Agenda</a:t>
            </a:r>
          </a:p>
        </p:txBody>
      </p:sp>
    </p:spTree>
    <p:extLst>
      <p:ext uri="{BB962C8B-B14F-4D97-AF65-F5344CB8AC3E}">
        <p14:creationId xmlns:p14="http://schemas.microsoft.com/office/powerpoint/2010/main" val="155844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ct val="0"/>
              </a:spcBef>
              <a:spcAft>
                <a:spcPct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808843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72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3385260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ct val="0"/>
              </a:spcBef>
              <a:spcAft>
                <a:spcPct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ct val="0"/>
              </a:spcBef>
              <a:spcAft>
                <a:spcPct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824854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ct val="0"/>
              </a:spcBef>
              <a:spcAft>
                <a:spcPct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424943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18066F-E432-4E7F-8055-A15BF65B33A7}"/>
              </a:ext>
            </a:extLst>
          </p:cNvPr>
          <p:cNvGraphicFramePr>
            <a:graphicFrameLocks noChangeAspect="1"/>
          </p:cNvGraphicFramePr>
          <p:nvPr userDrawn="1">
            <p:custDataLst>
              <p:tags r:id="rId1"/>
            </p:custDataLst>
            <p:extLst>
              <p:ext uri="{D42A27DB-BD31-4B8C-83A1-F6EECF244321}">
                <p14:modId xmlns:p14="http://schemas.microsoft.com/office/powerpoint/2010/main" val="384897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A18066F-E432-4E7F-8055-A15BF65B33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28650" y="372849"/>
            <a:ext cx="1033505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4" name="Picture 13" descr="A black text on a white background&#10;&#10;AI-generated content may be incorrect.">
            <a:extLst>
              <a:ext uri="{FF2B5EF4-FFF2-40B4-BE49-F238E27FC236}">
                <a16:creationId xmlns:a16="http://schemas.microsoft.com/office/drawing/2014/main" id="{4CB69AB6-3D63-4CA8-9354-654766C05D6D}"/>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2E9863-204F-4E97-B806-591EEB556315}"/>
              </a:ext>
            </a:extLst>
          </p:cNvPr>
          <p:cNvGraphicFramePr>
            <a:graphicFrameLocks noChangeAspect="1"/>
          </p:cNvGraphicFramePr>
          <p:nvPr userDrawn="1">
            <p:custDataLst>
              <p:tags r:id="rId1"/>
            </p:custDataLst>
            <p:extLst>
              <p:ext uri="{D42A27DB-BD31-4B8C-83A1-F6EECF244321}">
                <p14:modId xmlns:p14="http://schemas.microsoft.com/office/powerpoint/2010/main" val="231641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FA2E9863-204F-4E97-B806-591EEB5563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TextBox 10">
            <a:extLst>
              <a:ext uri="{FF2B5EF4-FFF2-40B4-BE49-F238E27FC236}">
                <a16:creationId xmlns:a16="http://schemas.microsoft.com/office/drawing/2014/main" id="{D4667229-B707-45AC-AED2-D60DEEEC772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8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56857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0993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074B5-E282-4C0C-84F3-6D011672D3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CACF879-1095-4174-B6A2-17D85FB510B1}"/>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497877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164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A85A4732-2F33-4385-A197-BEA58AE19F2E}"/>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5650BC8D-3610-42B6-A945-BF2EF110C559}"/>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86D78A92-0EA9-4A05-8873-A99CB7E53E8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5" name="Title 4">
            <a:extLst>
              <a:ext uri="{FF2B5EF4-FFF2-40B4-BE49-F238E27FC236}">
                <a16:creationId xmlns:a16="http://schemas.microsoft.com/office/drawing/2014/main" id="{C5F4C152-A981-4E3C-BFA6-E81005567DCF}"/>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8" name="Text Placeholder 27">
            <a:extLst>
              <a:ext uri="{FF2B5EF4-FFF2-40B4-BE49-F238E27FC236}">
                <a16:creationId xmlns:a16="http://schemas.microsoft.com/office/drawing/2014/main" id="{970461A4-5BF6-430C-AE97-D6BBEF281DDA}"/>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31" name="Text Placeholder 27">
            <a:extLst>
              <a:ext uri="{FF2B5EF4-FFF2-40B4-BE49-F238E27FC236}">
                <a16:creationId xmlns:a16="http://schemas.microsoft.com/office/drawing/2014/main" id="{F087F99F-53B3-4D3D-BB89-F5B2D3AF0BC7}"/>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extLst>
      <p:ext uri="{BB962C8B-B14F-4D97-AF65-F5344CB8AC3E}">
        <p14:creationId xmlns:p14="http://schemas.microsoft.com/office/powerpoint/2010/main" val="480947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18066F-E432-4E7F-8055-A15BF65B33A7}"/>
              </a:ext>
            </a:extLst>
          </p:cNvPr>
          <p:cNvGraphicFramePr>
            <a:graphicFrameLocks noChangeAspect="1"/>
          </p:cNvGraphicFramePr>
          <p:nvPr userDrawn="1">
            <p:custDataLst>
              <p:tags r:id="rId1"/>
            </p:custDataLst>
            <p:extLst>
              <p:ext uri="{D42A27DB-BD31-4B8C-83A1-F6EECF244321}">
                <p14:modId xmlns:p14="http://schemas.microsoft.com/office/powerpoint/2010/main" val="384897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A18066F-E432-4E7F-8055-A15BF65B33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28650" y="372849"/>
            <a:ext cx="1033505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4" name="Picture 13" descr="A black text on a white background&#10;&#10;AI-generated content may be incorrect.">
            <a:extLst>
              <a:ext uri="{FF2B5EF4-FFF2-40B4-BE49-F238E27FC236}">
                <a16:creationId xmlns:a16="http://schemas.microsoft.com/office/drawing/2014/main" id="{4CB69AB6-3D63-4CA8-9354-654766C05D6D}"/>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414927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F048F-58C0-44FC-A642-EACEEB7D025E}"/>
              </a:ext>
            </a:extLst>
          </p:cNvPr>
          <p:cNvGraphicFramePr>
            <a:graphicFrameLocks noChangeAspect="1"/>
          </p:cNvGraphicFramePr>
          <p:nvPr userDrawn="1">
            <p:custDataLst>
              <p:tags r:id="rId1"/>
            </p:custDataLst>
            <p:extLst>
              <p:ext uri="{D42A27DB-BD31-4B8C-83A1-F6EECF244321}">
                <p14:modId xmlns:p14="http://schemas.microsoft.com/office/powerpoint/2010/main" val="82201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C0F048F-58C0-44FC-A642-EACEEB7D0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650" y="372849"/>
            <a:ext cx="10335056" cy="625231"/>
          </a:xfrm>
        </p:spPr>
        <p:txBody>
          <a:bodyPr vert="horz"/>
          <a:lstStyle>
            <a:lvl1pPr>
              <a:defRPr sz="3400">
                <a:solidFill>
                  <a:schemeClr val="tx1"/>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1" name="Picture 10" descr="A black text on a white background&#10;&#10;AI-generated content may be incorrect.">
            <a:extLst>
              <a:ext uri="{FF2B5EF4-FFF2-40B4-BE49-F238E27FC236}">
                <a16:creationId xmlns:a16="http://schemas.microsoft.com/office/drawing/2014/main" id="{BEE79C89-9A51-457C-B2D6-C6B9CE657322}"/>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842066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7709EF-6E54-4E28-8DBA-802869043E78}"/>
              </a:ext>
            </a:extLst>
          </p:cNvPr>
          <p:cNvGraphicFramePr>
            <a:graphicFrameLocks noChangeAspect="1"/>
          </p:cNvGraphicFramePr>
          <p:nvPr userDrawn="1">
            <p:custDataLst>
              <p:tags r:id="rId1"/>
            </p:custDataLst>
            <p:extLst>
              <p:ext uri="{D42A27DB-BD31-4B8C-83A1-F6EECF244321}">
                <p14:modId xmlns:p14="http://schemas.microsoft.com/office/powerpoint/2010/main" val="370910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7709EF-6E54-4E28-8DBA-802869043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658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BE88F2-1C18-4AE5-8B29-1356AE91B935}"/>
              </a:ext>
            </a:extLst>
          </p:cNvPr>
          <p:cNvGraphicFramePr>
            <a:graphicFrameLocks noChangeAspect="1"/>
          </p:cNvGraphicFramePr>
          <p:nvPr userDrawn="1">
            <p:custDataLst>
              <p:tags r:id="rId1"/>
            </p:custDataLst>
            <p:extLst>
              <p:ext uri="{D42A27DB-BD31-4B8C-83A1-F6EECF244321}">
                <p14:modId xmlns:p14="http://schemas.microsoft.com/office/powerpoint/2010/main" val="56107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88BE88F2-1C18-4AE5-8B29-1356AE91B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21D4FDC-931F-4F23-BEAA-ECE2DE1CC10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2953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C1ABD6-2000-4130-B009-AE5995B346DF}"/>
              </a:ext>
            </a:extLst>
          </p:cNvPr>
          <p:cNvGraphicFramePr>
            <a:graphicFrameLocks noChangeAspect="1"/>
          </p:cNvGraphicFramePr>
          <p:nvPr userDrawn="1">
            <p:custDataLst>
              <p:tags r:id="rId1"/>
            </p:custDataLst>
            <p:extLst>
              <p:ext uri="{D42A27DB-BD31-4B8C-83A1-F6EECF244321}">
                <p14:modId xmlns:p14="http://schemas.microsoft.com/office/powerpoint/2010/main" val="335249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9C1ABD6-2000-4130-B009-AE5995B346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B756CE9-44F4-4021-B5E6-2C952541FB5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2660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62F51-4AD0-46D5-9EE1-8504F07A683C}"/>
              </a:ext>
            </a:extLst>
          </p:cNvPr>
          <p:cNvGraphicFramePr>
            <a:graphicFrameLocks noChangeAspect="1"/>
          </p:cNvGraphicFramePr>
          <p:nvPr userDrawn="1">
            <p:custDataLst>
              <p:tags r:id="rId1"/>
            </p:custDataLst>
            <p:extLst>
              <p:ext uri="{D42A27DB-BD31-4B8C-83A1-F6EECF244321}">
                <p14:modId xmlns:p14="http://schemas.microsoft.com/office/powerpoint/2010/main" val="24286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77562F51-4AD0-46D5-9EE1-8504F07A68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B3A935-A6B6-42D3-AB54-1463721681C5}"/>
              </a:ext>
            </a:extLst>
          </p:cNvPr>
          <p:cNvGraphicFramePr>
            <a:graphicFrameLocks noChangeAspect="1"/>
          </p:cNvGraphicFramePr>
          <p:nvPr userDrawn="1">
            <p:custDataLst>
              <p:tags r:id="rId1"/>
            </p:custDataLst>
            <p:extLst>
              <p:ext uri="{D42A27DB-BD31-4B8C-83A1-F6EECF244321}">
                <p14:modId xmlns:p14="http://schemas.microsoft.com/office/powerpoint/2010/main" val="359547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BEB3A935-A6B6-42D3-AB54-146372168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E1CCFC44-9268-4C8D-9BC5-49F78744612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6874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65EA47-558A-4F73-B049-0F7BC097BAA2}"/>
              </a:ext>
            </a:extLst>
          </p:cNvPr>
          <p:cNvGraphicFramePr>
            <a:graphicFrameLocks noChangeAspect="1"/>
          </p:cNvGraphicFramePr>
          <p:nvPr userDrawn="1">
            <p:custDataLst>
              <p:tags r:id="rId1"/>
            </p:custDataLst>
            <p:extLst>
              <p:ext uri="{D42A27DB-BD31-4B8C-83A1-F6EECF244321}">
                <p14:modId xmlns:p14="http://schemas.microsoft.com/office/powerpoint/2010/main" val="81762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865EA47-558A-4F73-B049-0F7BC097B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3"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9CAF7DA5-C103-4A57-8E71-B606800711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7036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A84018-3EA9-4268-8F41-C277173CD962}"/>
              </a:ext>
            </a:extLst>
          </p:cNvPr>
          <p:cNvGraphicFramePr>
            <a:graphicFrameLocks noChangeAspect="1"/>
          </p:cNvGraphicFramePr>
          <p:nvPr userDrawn="1">
            <p:custDataLst>
              <p:tags r:id="rId1"/>
            </p:custDataLst>
            <p:extLst>
              <p:ext uri="{D42A27DB-BD31-4B8C-83A1-F6EECF244321}">
                <p14:modId xmlns:p14="http://schemas.microsoft.com/office/powerpoint/2010/main" val="11124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1A84018-3EA9-4268-8F41-C277173CD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TextBox 16">
            <a:extLst>
              <a:ext uri="{FF2B5EF4-FFF2-40B4-BE49-F238E27FC236}">
                <a16:creationId xmlns:a16="http://schemas.microsoft.com/office/drawing/2014/main" id="{BB721522-3DA9-4BD5-9C88-09C65BBDABC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29577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AE52FD-78CA-4E2C-ADBF-6DAE497A73D0}"/>
              </a:ext>
            </a:extLst>
          </p:cNvPr>
          <p:cNvGraphicFramePr>
            <a:graphicFrameLocks noChangeAspect="1"/>
          </p:cNvGraphicFramePr>
          <p:nvPr userDrawn="1">
            <p:custDataLst>
              <p:tags r:id="rId1"/>
            </p:custDataLst>
            <p:extLst>
              <p:ext uri="{D42A27DB-BD31-4B8C-83A1-F6EECF244321}">
                <p14:modId xmlns:p14="http://schemas.microsoft.com/office/powerpoint/2010/main" val="147427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0BAE52FD-78CA-4E2C-ADBF-6DAE497A7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8" name="TextBox 17">
            <a:extLst>
              <a:ext uri="{FF2B5EF4-FFF2-40B4-BE49-F238E27FC236}">
                <a16:creationId xmlns:a16="http://schemas.microsoft.com/office/drawing/2014/main" id="{939A6F1A-4EBC-496D-A433-03C106A3D59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9327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286D79-0943-4E90-936D-ABF66DD6DDEE}"/>
              </a:ext>
            </a:extLst>
          </p:cNvPr>
          <p:cNvGraphicFramePr>
            <a:graphicFrameLocks noChangeAspect="1"/>
          </p:cNvGraphicFramePr>
          <p:nvPr userDrawn="1">
            <p:custDataLst>
              <p:tags r:id="rId1"/>
            </p:custDataLst>
            <p:extLst>
              <p:ext uri="{D42A27DB-BD31-4B8C-83A1-F6EECF244321}">
                <p14:modId xmlns:p14="http://schemas.microsoft.com/office/powerpoint/2010/main" val="175542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1286D79-0943-4E90-936D-ABF66DD6DD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TextBox 16">
            <a:extLst>
              <a:ext uri="{FF2B5EF4-FFF2-40B4-BE49-F238E27FC236}">
                <a16:creationId xmlns:a16="http://schemas.microsoft.com/office/drawing/2014/main" id="{983CE9E3-A6B0-4FFC-8C45-F992ABD131C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0112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6136DB-5336-4120-9768-E44D77E60A10}"/>
              </a:ext>
            </a:extLst>
          </p:cNvPr>
          <p:cNvGraphicFramePr>
            <a:graphicFrameLocks noChangeAspect="1"/>
          </p:cNvGraphicFramePr>
          <p:nvPr userDrawn="1">
            <p:custDataLst>
              <p:tags r:id="rId1"/>
            </p:custDataLst>
            <p:extLst>
              <p:ext uri="{D42A27DB-BD31-4B8C-83A1-F6EECF244321}">
                <p14:modId xmlns:p14="http://schemas.microsoft.com/office/powerpoint/2010/main" val="105435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B96136DB-5336-4120-9768-E44D77E60A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8D4B112-5040-4D4E-9EC1-0406E1482DC4}"/>
              </a:ext>
            </a:extLst>
          </p:cNvPr>
          <p:cNvSpPr>
            <a:spLocks noGrp="1"/>
          </p:cNvSpPr>
          <p:nvPr>
            <p:ph type="title" hasCustomPrompt="1"/>
          </p:nvPr>
        </p:nvSpPr>
        <p:spPr>
          <a:xfrm>
            <a:off x="630000" y="2764203"/>
            <a:ext cx="2478638" cy="1314310"/>
          </a:xfrm>
        </p:spPr>
        <p:txBody>
          <a:bodyPr vert="horz" anchor="ctr"/>
          <a:lstStyle>
            <a:lvl1pPr>
              <a:defRPr sz="3400">
                <a:latin typeface="+mj-lt"/>
                <a:ea typeface="+mj-ea"/>
                <a:cs typeface="+mj-cs"/>
              </a:defRPr>
            </a:lvl1pPr>
          </a:lstStyle>
          <a:p>
            <a:r>
              <a:rPr lang="en-US"/>
              <a:t>Click to add title</a:t>
            </a:r>
          </a:p>
        </p:txBody>
      </p:sp>
      <p:sp>
        <p:nvSpPr>
          <p:cNvPr id="22" name="TextBox 21">
            <a:extLst>
              <a:ext uri="{FF2B5EF4-FFF2-40B4-BE49-F238E27FC236}">
                <a16:creationId xmlns:a16="http://schemas.microsoft.com/office/drawing/2014/main" id="{EA131D20-D2EB-4EB1-BE4F-CD20E14328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915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8C18E8-82A7-4C50-8341-9782E0A64026}"/>
              </a:ext>
            </a:extLst>
          </p:cNvPr>
          <p:cNvGraphicFramePr>
            <a:graphicFrameLocks noChangeAspect="1"/>
          </p:cNvGraphicFramePr>
          <p:nvPr userDrawn="1">
            <p:custDataLst>
              <p:tags r:id="rId1"/>
            </p:custDataLst>
            <p:extLst>
              <p:ext uri="{D42A27DB-BD31-4B8C-83A1-F6EECF244321}">
                <p14:modId xmlns:p14="http://schemas.microsoft.com/office/powerpoint/2010/main" val="72508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9C8C18E8-82A7-4C50-8341-9782E0A64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9" name="TextBox 18">
            <a:extLst>
              <a:ext uri="{FF2B5EF4-FFF2-40B4-BE49-F238E27FC236}">
                <a16:creationId xmlns:a16="http://schemas.microsoft.com/office/drawing/2014/main" id="{85FFBF2F-228F-4BB0-8249-F2AF0C4BC19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982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5232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2A47957-D0A1-4F95-B614-03EF4678D79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9042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F9B664-2F23-4F08-83F6-0FA280702B54}"/>
              </a:ext>
            </a:extLst>
          </p:cNvPr>
          <p:cNvGraphicFramePr>
            <a:graphicFrameLocks noChangeAspect="1"/>
          </p:cNvGraphicFramePr>
          <p:nvPr userDrawn="1">
            <p:custDataLst>
              <p:tags r:id="rId1"/>
            </p:custDataLst>
            <p:extLst>
              <p:ext uri="{D42A27DB-BD31-4B8C-83A1-F6EECF244321}">
                <p14:modId xmlns:p14="http://schemas.microsoft.com/office/powerpoint/2010/main" val="228512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6AF9B664-2F23-4F08-83F6-0FA280702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a:extLst>
              <a:ext uri="{FF2B5EF4-FFF2-40B4-BE49-F238E27FC236}">
                <a16:creationId xmlns:a16="http://schemas.microsoft.com/office/drawing/2014/main" id="{8F4A34E1-683A-4C27-A5E7-0FDD4FCA23E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8200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FDBBAF-D6DF-4302-838F-6C60A64A6782}"/>
              </a:ext>
            </a:extLst>
          </p:cNvPr>
          <p:cNvGraphicFramePr>
            <a:graphicFrameLocks noChangeAspect="1"/>
          </p:cNvGraphicFramePr>
          <p:nvPr userDrawn="1">
            <p:custDataLst>
              <p:tags r:id="rId1"/>
            </p:custDataLst>
            <p:extLst>
              <p:ext uri="{D42A27DB-BD31-4B8C-83A1-F6EECF244321}">
                <p14:modId xmlns:p14="http://schemas.microsoft.com/office/powerpoint/2010/main" val="406022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FBFDBBAF-D6DF-4302-838F-6C60A64A6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2B038D75-A588-4511-8B61-FAC002D499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3294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B2D3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46252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2386C873-B2E0-421E-995D-1B6FA8857052}"/>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C30748-C5B3-41B2-B071-24182760D4BC}"/>
              </a:ext>
            </a:extLst>
          </p:cNvPr>
          <p:cNvGraphicFramePr>
            <a:graphicFrameLocks noChangeAspect="1"/>
          </p:cNvGraphicFramePr>
          <p:nvPr userDrawn="1">
            <p:custDataLst>
              <p:tags r:id="rId1"/>
            </p:custDataLst>
            <p:extLst>
              <p:ext uri="{D42A27DB-BD31-4B8C-83A1-F6EECF244321}">
                <p14:modId xmlns:p14="http://schemas.microsoft.com/office/powerpoint/2010/main" val="206399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7DC30748-C5B3-41B2-B071-24182760D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TextBox 17">
            <a:extLst>
              <a:ext uri="{FF2B5EF4-FFF2-40B4-BE49-F238E27FC236}">
                <a16:creationId xmlns:a16="http://schemas.microsoft.com/office/drawing/2014/main" id="{447209EA-6BC9-4C36-BA74-CBB0BC43A3E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546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B401D2-EF86-4E9A-A4AE-DD63244F4E40}"/>
              </a:ext>
            </a:extLst>
          </p:cNvPr>
          <p:cNvGraphicFramePr>
            <a:graphicFrameLocks noChangeAspect="1"/>
          </p:cNvGraphicFramePr>
          <p:nvPr userDrawn="1">
            <p:custDataLst>
              <p:tags r:id="rId1"/>
            </p:custDataLst>
            <p:extLst>
              <p:ext uri="{D42A27DB-BD31-4B8C-83A1-F6EECF244321}">
                <p14:modId xmlns:p14="http://schemas.microsoft.com/office/powerpoint/2010/main" val="112657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9B401D2-EF86-4E9A-A4AE-DD63244F4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Title 3"/>
          <p:cNvSpPr>
            <a:spLocks noGrp="1"/>
          </p:cNvSpPr>
          <p:nvPr>
            <p:ph type="title" hasCustomPrompt="1"/>
          </p:nvPr>
        </p:nvSpPr>
        <p:spPr>
          <a:xfrm>
            <a:off x="630000" y="372848"/>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A6BB492D-734B-4FE6-ADAE-5011DE01A5F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4977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FE409A-D47F-4F8B-89BA-A1F30A0E50B2}"/>
              </a:ext>
            </a:extLst>
          </p:cNvPr>
          <p:cNvGraphicFramePr>
            <a:graphicFrameLocks noChangeAspect="1"/>
          </p:cNvGraphicFramePr>
          <p:nvPr userDrawn="1">
            <p:custDataLst>
              <p:tags r:id="rId1"/>
            </p:custDataLst>
            <p:extLst>
              <p:ext uri="{D42A27DB-BD31-4B8C-83A1-F6EECF244321}">
                <p14:modId xmlns:p14="http://schemas.microsoft.com/office/powerpoint/2010/main" val="151385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BFE409A-D47F-4F8B-89BA-A1F30A0E5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1" name="TextBox 20">
            <a:extLst>
              <a:ext uri="{FF2B5EF4-FFF2-40B4-BE49-F238E27FC236}">
                <a16:creationId xmlns:a16="http://schemas.microsoft.com/office/drawing/2014/main" id="{197E209B-C8AC-4092-8EAE-558742F2031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8764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2E9863-204F-4E97-B806-591EEB556315}"/>
              </a:ext>
            </a:extLst>
          </p:cNvPr>
          <p:cNvGraphicFramePr>
            <a:graphicFrameLocks noChangeAspect="1"/>
          </p:cNvGraphicFramePr>
          <p:nvPr userDrawn="1">
            <p:custDataLst>
              <p:tags r:id="rId1"/>
            </p:custDataLst>
            <p:extLst>
              <p:ext uri="{D42A27DB-BD31-4B8C-83A1-F6EECF244321}">
                <p14:modId xmlns:p14="http://schemas.microsoft.com/office/powerpoint/2010/main" val="231641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FA2E9863-204F-4E97-B806-591EEB5563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TextBox 10">
            <a:extLst>
              <a:ext uri="{FF2B5EF4-FFF2-40B4-BE49-F238E27FC236}">
                <a16:creationId xmlns:a16="http://schemas.microsoft.com/office/drawing/2014/main" id="{D4667229-B707-45AC-AED2-D60DEEEC772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8157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62F51-4AD0-46D5-9EE1-8504F07A683C}"/>
              </a:ext>
            </a:extLst>
          </p:cNvPr>
          <p:cNvGraphicFramePr>
            <a:graphicFrameLocks noChangeAspect="1"/>
          </p:cNvGraphicFramePr>
          <p:nvPr userDrawn="1">
            <p:custDataLst>
              <p:tags r:id="rId1"/>
            </p:custDataLst>
            <p:extLst>
              <p:ext uri="{D42A27DB-BD31-4B8C-83A1-F6EECF244321}">
                <p14:modId xmlns:p14="http://schemas.microsoft.com/office/powerpoint/2010/main" val="24286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77562F51-4AD0-46D5-9EE1-8504F07A68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0239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B2D3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46252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2386C873-B2E0-421E-995D-1B6FA8857052}"/>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11622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9108CB-D5CF-4B71-B79D-860E0348F575}"/>
              </a:ext>
            </a:extLst>
          </p:cNvPr>
          <p:cNvGraphicFramePr>
            <a:graphicFrameLocks noChangeAspect="1"/>
          </p:cNvGraphicFramePr>
          <p:nvPr userDrawn="1">
            <p:custDataLst>
              <p:tags r:id="rId1"/>
            </p:custDataLst>
            <p:extLst>
              <p:ext uri="{D42A27DB-BD31-4B8C-83A1-F6EECF244321}">
                <p14:modId xmlns:p14="http://schemas.microsoft.com/office/powerpoint/2010/main" val="1778337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D9108CB-D5CF-4B71-B79D-860E0348F5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28650" y="372849"/>
            <a:ext cx="10335056" cy="625231"/>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9FB66962-778B-4167-8E09-3ED6DD1A8A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0462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0F36FE-C928-4C3E-9473-C33179785B84}"/>
              </a:ext>
            </a:extLst>
          </p:cNvPr>
          <p:cNvGraphicFramePr>
            <a:graphicFrameLocks noChangeAspect="1"/>
          </p:cNvGraphicFramePr>
          <p:nvPr userDrawn="1">
            <p:custDataLst>
              <p:tags r:id="rId1"/>
            </p:custDataLst>
            <p:extLst>
              <p:ext uri="{D42A27DB-BD31-4B8C-83A1-F6EECF244321}">
                <p14:modId xmlns:p14="http://schemas.microsoft.com/office/powerpoint/2010/main" val="908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900F36FE-C928-4C3E-9473-C33179785B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507371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07B438-2231-432D-8277-AD4B7C4A079A}"/>
              </a:ext>
            </a:extLst>
          </p:cNvPr>
          <p:cNvGraphicFramePr>
            <a:graphicFrameLocks noChangeAspect="1"/>
          </p:cNvGraphicFramePr>
          <p:nvPr userDrawn="1">
            <p:custDataLst>
              <p:tags r:id="rId1"/>
            </p:custDataLst>
            <p:extLst>
              <p:ext uri="{D42A27DB-BD31-4B8C-83A1-F6EECF244321}">
                <p14:modId xmlns:p14="http://schemas.microsoft.com/office/powerpoint/2010/main" val="242149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C07B438-2231-432D-8277-AD4B7C4A0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TextBox 9">
            <a:extLst>
              <a:ext uri="{FF2B5EF4-FFF2-40B4-BE49-F238E27FC236}">
                <a16:creationId xmlns:a16="http://schemas.microsoft.com/office/drawing/2014/main" id="{086104FA-02F1-4D20-893A-9A89E677D9E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94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CC2E2F-DDD8-465B-8E90-4C0391E1F26F}"/>
              </a:ext>
            </a:extLst>
          </p:cNvPr>
          <p:cNvGraphicFramePr>
            <a:graphicFrameLocks noChangeAspect="1"/>
          </p:cNvGraphicFramePr>
          <p:nvPr userDrawn="1">
            <p:custDataLst>
              <p:tags r:id="rId1"/>
            </p:custDataLst>
            <p:extLst>
              <p:ext uri="{D42A27DB-BD31-4B8C-83A1-F6EECF244321}">
                <p14:modId xmlns:p14="http://schemas.microsoft.com/office/powerpoint/2010/main" val="185520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ECCC2E2F-DDD8-465B-8E90-4C0391E1F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F24DAA7-A707-4B67-B45D-0F32F277C033}"/>
              </a:ext>
            </a:extLst>
          </p:cNvPr>
          <p:cNvSpPr>
            <a:spLocks noGrp="1"/>
          </p:cNvSpPr>
          <p:nvPr>
            <p:ph type="body" sz="quarter" idx="11" hasCustomPrompt="1"/>
          </p:nvPr>
        </p:nvSpPr>
        <p:spPr>
          <a:xfrm>
            <a:off x="5021826" y="1664256"/>
            <a:ext cx="6209072" cy="3323987"/>
          </a:xfrm>
        </p:spPr>
        <p:txBody>
          <a:bodyPr/>
          <a:lstStyle>
            <a:lvl1pPr>
              <a:defRPr sz="900">
                <a:latin typeface="+mn-lt"/>
                <a:ea typeface="+mn-ea"/>
                <a:cs typeface="+mn-cs"/>
              </a:defRPr>
            </a:lvl1pPr>
          </a:lstStyle>
          <a:p>
            <a:pPr lvl="0"/>
            <a:r>
              <a:rPr lang="en-US"/>
              <a:t>Text</a:t>
            </a:r>
          </a:p>
        </p:txBody>
      </p:sp>
      <p:sp>
        <p:nvSpPr>
          <p:cNvPr id="7" name="Title 6"/>
          <p:cNvSpPr txBox="1">
            <a:spLocks/>
          </p:cNvSpPr>
          <p:nvPr/>
        </p:nvSpPr>
        <p:spPr>
          <a:xfrm>
            <a:off x="639044" y="2970799"/>
            <a:ext cx="3484547"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166567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9108CB-D5CF-4B71-B79D-860E0348F575}"/>
              </a:ext>
            </a:extLst>
          </p:cNvPr>
          <p:cNvGraphicFramePr>
            <a:graphicFrameLocks noChangeAspect="1"/>
          </p:cNvGraphicFramePr>
          <p:nvPr userDrawn="1">
            <p:custDataLst>
              <p:tags r:id="rId1"/>
            </p:custDataLst>
            <p:extLst>
              <p:ext uri="{D42A27DB-BD31-4B8C-83A1-F6EECF244321}">
                <p14:modId xmlns:p14="http://schemas.microsoft.com/office/powerpoint/2010/main" val="1778337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D9108CB-D5CF-4B71-B79D-860E0348F5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628650" y="372849"/>
            <a:ext cx="10335056" cy="625231"/>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9FB66962-778B-4167-8E09-3ED6DD1A8A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6548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Google Shape;54;p13" title="CES_logo_black_text.png">
            <a:extLst>
              <a:ext uri="{FF2B5EF4-FFF2-40B4-BE49-F238E27FC236}">
                <a16:creationId xmlns:a16="http://schemas.microsoft.com/office/drawing/2014/main" id="{66607ED6-29EA-48D2-8341-C4440CFA60B0}"/>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253B32EB-40C3-4D5F-BAFA-D4B6ACC12751}"/>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35FB2646-D538-4740-B34B-1502FEE4609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19F3A4AF-542A-4929-8A9E-F3E4E33F1D0D}"/>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144923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BD839F-4D6D-4DF1-931C-46FE5B9C8BB6}"/>
              </a:ext>
            </a:extLst>
          </p:cNvPr>
          <p:cNvGraphicFramePr>
            <a:graphicFrameLocks noChangeAspect="1"/>
          </p:cNvGraphicFramePr>
          <p:nvPr userDrawn="1">
            <p:custDataLst>
              <p:tags r:id="rId1"/>
            </p:custDataLst>
            <p:extLst>
              <p:ext uri="{D42A27DB-BD31-4B8C-83A1-F6EECF244321}">
                <p14:modId xmlns:p14="http://schemas.microsoft.com/office/powerpoint/2010/main" val="198154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BD839F-4D6D-4DF1-931C-46FE5B9C8B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31429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768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35282B56-8D63-4623-8F62-F933FC3B86F0}"/>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7630E2E3-FF84-4176-A68A-5C42BDA55FAF}"/>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0D3B8970-4662-4497-B400-3C3D2B9166C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23" name="Title 4">
            <a:extLst>
              <a:ext uri="{FF2B5EF4-FFF2-40B4-BE49-F238E27FC236}">
                <a16:creationId xmlns:a16="http://schemas.microsoft.com/office/drawing/2014/main" id="{02A108F0-B73C-4474-A27C-598A9632BAE6}"/>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4" name="Text Placeholder 27">
            <a:extLst>
              <a:ext uri="{FF2B5EF4-FFF2-40B4-BE49-F238E27FC236}">
                <a16:creationId xmlns:a16="http://schemas.microsoft.com/office/drawing/2014/main" id="{EB440D3E-4693-47E6-AD27-1A2C2FC34BE8}"/>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25" name="Text Placeholder 27">
            <a:extLst>
              <a:ext uri="{FF2B5EF4-FFF2-40B4-BE49-F238E27FC236}">
                <a16:creationId xmlns:a16="http://schemas.microsoft.com/office/drawing/2014/main" id="{37105B42-A0BF-41C7-9D67-AF5CD0AA2AE6}"/>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extLst>
      <p:ext uri="{BB962C8B-B14F-4D97-AF65-F5344CB8AC3E}">
        <p14:creationId xmlns:p14="http://schemas.microsoft.com/office/powerpoint/2010/main" val="301944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3BCA00-9D38-471C-BD5E-E5ED4A8008FD}"/>
              </a:ext>
            </a:extLst>
          </p:cNvPr>
          <p:cNvGraphicFramePr>
            <a:graphicFrameLocks noChangeAspect="1"/>
          </p:cNvGraphicFramePr>
          <p:nvPr userDrawn="1">
            <p:custDataLst>
              <p:tags r:id="rId1"/>
            </p:custDataLst>
            <p:extLst>
              <p:ext uri="{D42A27DB-BD31-4B8C-83A1-F6EECF244321}">
                <p14:modId xmlns:p14="http://schemas.microsoft.com/office/powerpoint/2010/main" val="63765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03BCA00-9D38-471C-BD5E-E5ED4A8008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28650" y="372848"/>
            <a:ext cx="10335056" cy="625231"/>
          </a:xfr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39" name="Picture 38" descr="A black text on a white background&#10;&#10;AI-generated content may be incorrect.">
            <a:extLst>
              <a:ext uri="{FF2B5EF4-FFF2-40B4-BE49-F238E27FC236}">
                <a16:creationId xmlns:a16="http://schemas.microsoft.com/office/drawing/2014/main" id="{D2828A3E-0292-4A5C-88BB-B4DB95FE2409}"/>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335314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0525C8-4D3B-4077-80C3-7F0B0E5C61B2}"/>
              </a:ext>
            </a:extLst>
          </p:cNvPr>
          <p:cNvGraphicFramePr>
            <a:graphicFrameLocks noChangeAspect="1"/>
          </p:cNvGraphicFramePr>
          <p:nvPr userDrawn="1">
            <p:custDataLst>
              <p:tags r:id="rId1"/>
            </p:custDataLst>
            <p:extLst>
              <p:ext uri="{D42A27DB-BD31-4B8C-83A1-F6EECF244321}">
                <p14:modId xmlns:p14="http://schemas.microsoft.com/office/powerpoint/2010/main" val="203076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160525C8-4D3B-4077-80C3-7F0B0E5C6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chemeClr val="tx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7" name="Picture 6" descr="A black text on a white background&#10;&#10;AI-generated content may be incorrect.">
            <a:extLst>
              <a:ext uri="{FF2B5EF4-FFF2-40B4-BE49-F238E27FC236}">
                <a16:creationId xmlns:a16="http://schemas.microsoft.com/office/drawing/2014/main" id="{CB9ABFC1-BAA9-4FE3-889A-4687C4F02E35}"/>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438429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7FEB3D-2706-492A-B363-66108C6E9042}"/>
              </a:ext>
            </a:extLst>
          </p:cNvPr>
          <p:cNvGraphicFramePr>
            <a:graphicFrameLocks noChangeAspect="1"/>
          </p:cNvGraphicFramePr>
          <p:nvPr userDrawn="1">
            <p:custDataLst>
              <p:tags r:id="rId1"/>
            </p:custDataLst>
            <p:extLst>
              <p:ext uri="{D42A27DB-BD31-4B8C-83A1-F6EECF244321}">
                <p14:modId xmlns:p14="http://schemas.microsoft.com/office/powerpoint/2010/main" val="352460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47FEB3D-2706-492A-B363-66108C6E9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2000" i="1">
                <a:solidFill>
                  <a:schemeClr val="tx1">
                    <a:lumMod val="65000"/>
                    <a:lumOff val="35000"/>
                  </a:schemeClr>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36909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542ABF-92BA-43FD-9204-8237A97938AD}"/>
              </a:ext>
            </a:extLst>
          </p:cNvPr>
          <p:cNvGraphicFramePr>
            <a:graphicFrameLocks noChangeAspect="1"/>
          </p:cNvGraphicFramePr>
          <p:nvPr userDrawn="1">
            <p:custDataLst>
              <p:tags r:id="rId1"/>
            </p:custDataLst>
            <p:extLst>
              <p:ext uri="{D42A27DB-BD31-4B8C-83A1-F6EECF244321}">
                <p14:modId xmlns:p14="http://schemas.microsoft.com/office/powerpoint/2010/main" val="409599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6542ABF-92BA-43FD-9204-8237A97938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9405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823440-8CDE-4B50-801C-9A2C6AAD8CEC}"/>
              </a:ext>
            </a:extLst>
          </p:cNvPr>
          <p:cNvGraphicFramePr>
            <a:graphicFrameLocks noChangeAspect="1"/>
          </p:cNvGraphicFramePr>
          <p:nvPr userDrawn="1">
            <p:custDataLst>
              <p:tags r:id="rId1"/>
            </p:custDataLst>
            <p:extLst>
              <p:ext uri="{D42A27DB-BD31-4B8C-83A1-F6EECF244321}">
                <p14:modId xmlns:p14="http://schemas.microsoft.com/office/powerpoint/2010/main" val="1524752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92823440-8CDE-4B50-801C-9A2C6AAD8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183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F78F59-15F9-4EE7-A75B-20DB2C0F24B9}"/>
              </a:ext>
            </a:extLst>
          </p:cNvPr>
          <p:cNvGraphicFramePr>
            <a:graphicFrameLocks noChangeAspect="1"/>
          </p:cNvGraphicFramePr>
          <p:nvPr userDrawn="1">
            <p:custDataLst>
              <p:tags r:id="rId1"/>
            </p:custDataLst>
            <p:extLst>
              <p:ext uri="{D42A27DB-BD31-4B8C-83A1-F6EECF244321}">
                <p14:modId xmlns:p14="http://schemas.microsoft.com/office/powerpoint/2010/main" val="364092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F78F59-15F9-4EE7-A75B-20DB2C0F2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1" name="TextBox 10">
            <a:extLst>
              <a:ext uri="{FF2B5EF4-FFF2-40B4-BE49-F238E27FC236}">
                <a16:creationId xmlns:a16="http://schemas.microsoft.com/office/drawing/2014/main" id="{859EAAFC-E378-4C33-8963-360B490FB1F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7454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B4FA3E-A483-4578-AE02-4BB81C8F2BAF}"/>
              </a:ext>
            </a:extLst>
          </p:cNvPr>
          <p:cNvGraphicFramePr>
            <a:graphicFrameLocks noChangeAspect="1"/>
          </p:cNvGraphicFramePr>
          <p:nvPr userDrawn="1">
            <p:custDataLst>
              <p:tags r:id="rId1"/>
            </p:custDataLst>
            <p:extLst>
              <p:ext uri="{D42A27DB-BD31-4B8C-83A1-F6EECF244321}">
                <p14:modId xmlns:p14="http://schemas.microsoft.com/office/powerpoint/2010/main" val="175665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AB4FA3E-A483-4578-AE02-4BB81C8F2B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372848"/>
            <a:ext cx="6276529"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6" name="TextBox 15">
            <a:extLst>
              <a:ext uri="{FF2B5EF4-FFF2-40B4-BE49-F238E27FC236}">
                <a16:creationId xmlns:a16="http://schemas.microsoft.com/office/drawing/2014/main" id="{9DC5AD3D-89A0-44D5-B909-0C4ED7E24F3F}"/>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9056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0F36FE-C928-4C3E-9473-C33179785B84}"/>
              </a:ext>
            </a:extLst>
          </p:cNvPr>
          <p:cNvGraphicFramePr>
            <a:graphicFrameLocks noChangeAspect="1"/>
          </p:cNvGraphicFramePr>
          <p:nvPr userDrawn="1">
            <p:custDataLst>
              <p:tags r:id="rId1"/>
            </p:custDataLst>
            <p:extLst>
              <p:ext uri="{D42A27DB-BD31-4B8C-83A1-F6EECF244321}">
                <p14:modId xmlns:p14="http://schemas.microsoft.com/office/powerpoint/2010/main" val="908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900F36FE-C928-4C3E-9473-C33179785B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307674-7FC7-492D-BF10-45B390CCA08A}"/>
              </a:ext>
            </a:extLst>
          </p:cNvPr>
          <p:cNvGraphicFramePr>
            <a:graphicFrameLocks noChangeAspect="1"/>
          </p:cNvGraphicFramePr>
          <p:nvPr userDrawn="1">
            <p:custDataLst>
              <p:tags r:id="rId1"/>
            </p:custDataLst>
            <p:extLst>
              <p:ext uri="{D42A27DB-BD31-4B8C-83A1-F6EECF244321}">
                <p14:modId xmlns:p14="http://schemas.microsoft.com/office/powerpoint/2010/main" val="254507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B307674-7FC7-492D-BF10-45B390CCA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372848"/>
            <a:ext cx="8101584"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8" name="TextBox 17">
            <a:extLst>
              <a:ext uri="{FF2B5EF4-FFF2-40B4-BE49-F238E27FC236}">
                <a16:creationId xmlns:a16="http://schemas.microsoft.com/office/drawing/2014/main" id="{BE5EA5B9-8872-4B71-94DE-E536D1F835F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8745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6DA7AF-E1F2-4781-8D23-45BD18CA1D80}"/>
              </a:ext>
            </a:extLst>
          </p:cNvPr>
          <p:cNvGraphicFramePr>
            <a:graphicFrameLocks noChangeAspect="1"/>
          </p:cNvGraphicFramePr>
          <p:nvPr userDrawn="1">
            <p:custDataLst>
              <p:tags r:id="rId1"/>
            </p:custDataLst>
            <p:extLst>
              <p:ext uri="{D42A27DB-BD31-4B8C-83A1-F6EECF244321}">
                <p14:modId xmlns:p14="http://schemas.microsoft.com/office/powerpoint/2010/main" val="228500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276DA7AF-E1F2-4781-8D23-45BD18CA1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2" name="TextBox 11">
            <a:extLst>
              <a:ext uri="{FF2B5EF4-FFF2-40B4-BE49-F238E27FC236}">
                <a16:creationId xmlns:a16="http://schemas.microsoft.com/office/drawing/2014/main" id="{5F030C01-6099-41D5-85E2-38138CEAC18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70681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88EB78C-A0BA-46BE-9E8D-0003A01EF722}"/>
              </a:ext>
            </a:extLst>
          </p:cNvPr>
          <p:cNvGraphicFramePr>
            <a:graphicFrameLocks noChangeAspect="1"/>
          </p:cNvGraphicFramePr>
          <p:nvPr userDrawn="1">
            <p:custDataLst>
              <p:tags r:id="rId1"/>
            </p:custDataLst>
            <p:extLst>
              <p:ext uri="{D42A27DB-BD31-4B8C-83A1-F6EECF244321}">
                <p14:modId xmlns:p14="http://schemas.microsoft.com/office/powerpoint/2010/main" val="327823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88EB78C-A0BA-46BE-9E8D-0003A01EF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6" name="TextBox 15">
            <a:extLst>
              <a:ext uri="{FF2B5EF4-FFF2-40B4-BE49-F238E27FC236}">
                <a16:creationId xmlns:a16="http://schemas.microsoft.com/office/drawing/2014/main" id="{76FEF5BA-05CA-46B1-B128-2F0A00C4EEC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024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6B487E-90A5-4CED-A952-C03E1AFC6AD1}"/>
              </a:ext>
            </a:extLst>
          </p:cNvPr>
          <p:cNvGraphicFramePr>
            <a:graphicFrameLocks noChangeAspect="1"/>
          </p:cNvGraphicFramePr>
          <p:nvPr userDrawn="1">
            <p:custDataLst>
              <p:tags r:id="rId1"/>
            </p:custDataLst>
            <p:extLst>
              <p:ext uri="{D42A27DB-BD31-4B8C-83A1-F6EECF244321}">
                <p14:modId xmlns:p14="http://schemas.microsoft.com/office/powerpoint/2010/main" val="172990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E6B487E-90A5-4CED-A952-C03E1AFC6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a:extLst>
              <a:ext uri="{FF2B5EF4-FFF2-40B4-BE49-F238E27FC236}">
                <a16:creationId xmlns:a16="http://schemas.microsoft.com/office/drawing/2014/main" id="{7AAB2828-E04E-42B8-A48C-A1685C8BE1F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8081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3577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B5B661D5-1CA2-403C-9960-06DF30B0AD62}"/>
              </a:ext>
            </a:extLst>
          </p:cNvPr>
          <p:cNvSpPr>
            <a:spLocks noGrp="1"/>
          </p:cNvSpPr>
          <p:nvPr>
            <p:ph type="title" hasCustomPrompt="1"/>
          </p:nvPr>
        </p:nvSpPr>
        <p:spPr>
          <a:xfrm>
            <a:off x="630000" y="2764203"/>
            <a:ext cx="2478638" cy="1314310"/>
          </a:xfrm>
        </p:spPr>
        <p:txBody>
          <a:bodyPr vert="horz" anchor="ctr"/>
          <a:lstStyle>
            <a:lvl1pPr>
              <a:defRPr>
                <a:latin typeface="+mj-lt"/>
                <a:ea typeface="+mj-ea"/>
                <a:cs typeface="+mj-cs"/>
              </a:defRPr>
            </a:lvl1pPr>
          </a:lstStyle>
          <a:p>
            <a:r>
              <a:rPr lang="en-US"/>
              <a:t>Click to add title</a:t>
            </a:r>
          </a:p>
        </p:txBody>
      </p:sp>
      <p:sp>
        <p:nvSpPr>
          <p:cNvPr id="21" name="TextBox 20">
            <a:extLst>
              <a:ext uri="{FF2B5EF4-FFF2-40B4-BE49-F238E27FC236}">
                <a16:creationId xmlns:a16="http://schemas.microsoft.com/office/drawing/2014/main" id="{1081A262-848E-49D9-AB38-7241C9B0EE0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1410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BF11C7-B01B-439C-8DDE-03DC3761284E}"/>
              </a:ext>
            </a:extLst>
          </p:cNvPr>
          <p:cNvGraphicFramePr>
            <a:graphicFrameLocks noChangeAspect="1"/>
          </p:cNvGraphicFramePr>
          <p:nvPr userDrawn="1">
            <p:custDataLst>
              <p:tags r:id="rId1"/>
            </p:custDataLst>
            <p:extLst>
              <p:ext uri="{D42A27DB-BD31-4B8C-83A1-F6EECF244321}">
                <p14:modId xmlns:p14="http://schemas.microsoft.com/office/powerpoint/2010/main" val="137575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DBF11C7-B01B-439C-8DDE-03DC37612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3B640D2-6EBE-4730-B4DE-B45101B5B85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77859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F718E6-C444-4317-BA7C-7096446C30C7}"/>
              </a:ext>
            </a:extLst>
          </p:cNvPr>
          <p:cNvGraphicFramePr>
            <a:graphicFrameLocks noChangeAspect="1"/>
          </p:cNvGraphicFramePr>
          <p:nvPr userDrawn="1">
            <p:custDataLst>
              <p:tags r:id="rId1"/>
            </p:custDataLst>
            <p:extLst>
              <p:ext uri="{D42A27DB-BD31-4B8C-83A1-F6EECF244321}">
                <p14:modId xmlns:p14="http://schemas.microsoft.com/office/powerpoint/2010/main" val="165781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CF718E6-C444-4317-BA7C-7096446C3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F32AF30-4EF5-43AE-B47A-FB1E1ABE26C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096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FE7763-B306-42E5-954D-4408CCA31A69}"/>
              </a:ext>
            </a:extLst>
          </p:cNvPr>
          <p:cNvGraphicFramePr>
            <a:graphicFrameLocks noChangeAspect="1"/>
          </p:cNvGraphicFramePr>
          <p:nvPr userDrawn="1">
            <p:custDataLst>
              <p:tags r:id="rId1"/>
            </p:custDataLst>
            <p:extLst>
              <p:ext uri="{D42A27DB-BD31-4B8C-83A1-F6EECF244321}">
                <p14:modId xmlns:p14="http://schemas.microsoft.com/office/powerpoint/2010/main" val="10236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AFE7763-B306-42E5-954D-4408CCA31A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a:extLst>
              <a:ext uri="{FF2B5EF4-FFF2-40B4-BE49-F238E27FC236}">
                <a16:creationId xmlns:a16="http://schemas.microsoft.com/office/drawing/2014/main" id="{647E0DF9-2371-401A-992B-9DD4F3DC299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67054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7B52C8-147A-4093-9DD2-BA2D5AF6385B}"/>
              </a:ext>
            </a:extLst>
          </p:cNvPr>
          <p:cNvGraphicFramePr>
            <a:graphicFrameLocks noChangeAspect="1"/>
          </p:cNvGraphicFramePr>
          <p:nvPr userDrawn="1">
            <p:custDataLst>
              <p:tags r:id="rId1"/>
            </p:custDataLst>
            <p:extLst>
              <p:ext uri="{D42A27DB-BD31-4B8C-83A1-F6EECF244321}">
                <p14:modId xmlns:p14="http://schemas.microsoft.com/office/powerpoint/2010/main" val="3373744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AC7B52C8-147A-4093-9DD2-BA2D5AF638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B09B4D3-64B0-43C7-8DB7-147B54E8B6D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9200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7D801-0E9C-4259-B5D7-821BE616A523}"/>
              </a:ext>
            </a:extLst>
          </p:cNvPr>
          <p:cNvGraphicFramePr>
            <a:graphicFrameLocks noChangeAspect="1"/>
          </p:cNvGraphicFramePr>
          <p:nvPr userDrawn="1">
            <p:custDataLst>
              <p:tags r:id="rId1"/>
            </p:custDataLst>
            <p:extLst>
              <p:ext uri="{D42A27DB-BD31-4B8C-83A1-F6EECF244321}">
                <p14:modId xmlns:p14="http://schemas.microsoft.com/office/powerpoint/2010/main" val="1958181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07D801-0E9C-4259-B5D7-821BE616A5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9" name="TextBox 18">
            <a:extLst>
              <a:ext uri="{FF2B5EF4-FFF2-40B4-BE49-F238E27FC236}">
                <a16:creationId xmlns:a16="http://schemas.microsoft.com/office/drawing/2014/main" id="{5FF9C0D8-DFA3-4D79-B61B-7519A3D57AE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625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07B438-2231-432D-8277-AD4B7C4A079A}"/>
              </a:ext>
            </a:extLst>
          </p:cNvPr>
          <p:cNvGraphicFramePr>
            <a:graphicFrameLocks noChangeAspect="1"/>
          </p:cNvGraphicFramePr>
          <p:nvPr userDrawn="1">
            <p:custDataLst>
              <p:tags r:id="rId1"/>
            </p:custDataLst>
            <p:extLst>
              <p:ext uri="{D42A27DB-BD31-4B8C-83A1-F6EECF244321}">
                <p14:modId xmlns:p14="http://schemas.microsoft.com/office/powerpoint/2010/main" val="242149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C07B438-2231-432D-8277-AD4B7C4A0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086104FA-02F1-4D20-893A-9A89E677D9E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EE48AF-4E45-4D2C-9389-4F2DA6C34906}"/>
              </a:ext>
            </a:extLst>
          </p:cNvPr>
          <p:cNvGraphicFramePr>
            <a:graphicFrameLocks noChangeAspect="1"/>
          </p:cNvGraphicFramePr>
          <p:nvPr userDrawn="1">
            <p:custDataLst>
              <p:tags r:id="rId1"/>
            </p:custDataLst>
            <p:extLst>
              <p:ext uri="{D42A27DB-BD31-4B8C-83A1-F6EECF244321}">
                <p14:modId xmlns:p14="http://schemas.microsoft.com/office/powerpoint/2010/main" val="31471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0EE48AF-4E45-4D2C-9389-4F2DA6C34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F1664F96-6D3E-49BF-BB7E-86C120F33E41}"/>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5815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0B4353-598A-4D61-931B-E89C0F3B2A50}"/>
              </a:ext>
            </a:extLst>
          </p:cNvPr>
          <p:cNvGraphicFramePr>
            <a:graphicFrameLocks noChangeAspect="1"/>
          </p:cNvGraphicFramePr>
          <p:nvPr userDrawn="1">
            <p:custDataLst>
              <p:tags r:id="rId1"/>
            </p:custDataLst>
            <p:extLst>
              <p:ext uri="{D42A27DB-BD31-4B8C-83A1-F6EECF244321}">
                <p14:modId xmlns:p14="http://schemas.microsoft.com/office/powerpoint/2010/main" val="8843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00B4353-598A-4D61-931B-E89C0F3B2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a:extLst>
              <a:ext uri="{FF2B5EF4-FFF2-40B4-BE49-F238E27FC236}">
                <a16:creationId xmlns:a16="http://schemas.microsoft.com/office/drawing/2014/main" id="{FB83CF87-7CFD-408A-AA9B-9669EE068C6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569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C41711-0345-4978-8005-FE3141EA89D1}"/>
              </a:ext>
            </a:extLst>
          </p:cNvPr>
          <p:cNvGraphicFramePr>
            <a:graphicFrameLocks noChangeAspect="1"/>
          </p:cNvGraphicFramePr>
          <p:nvPr userDrawn="1">
            <p:custDataLst>
              <p:tags r:id="rId1"/>
            </p:custDataLst>
            <p:extLst>
              <p:ext uri="{D42A27DB-BD31-4B8C-83A1-F6EECF244321}">
                <p14:modId xmlns:p14="http://schemas.microsoft.com/office/powerpoint/2010/main" val="136772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9C41711-0345-4978-8005-FE3141EA89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a:extLst>
              <a:ext uri="{FF2B5EF4-FFF2-40B4-BE49-F238E27FC236}">
                <a16:creationId xmlns:a16="http://schemas.microsoft.com/office/drawing/2014/main" id="{37C8CCFA-C4D6-456F-8711-2AA52FD394B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8393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0D5FD2A-5296-4736-BE20-1162BBBEED5F}"/>
              </a:ext>
            </a:extLst>
          </p:cNvPr>
          <p:cNvGraphicFramePr>
            <a:graphicFrameLocks noChangeAspect="1"/>
          </p:cNvGraphicFramePr>
          <p:nvPr userDrawn="1">
            <p:custDataLst>
              <p:tags r:id="rId1"/>
            </p:custDataLst>
            <p:extLst>
              <p:ext uri="{D42A27DB-BD31-4B8C-83A1-F6EECF244321}">
                <p14:modId xmlns:p14="http://schemas.microsoft.com/office/powerpoint/2010/main" val="27046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0D5FD2A-5296-4736-BE20-1162BBBEE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576827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B2D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2913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F00CAA1D-7044-4801-B675-ECF1B37A9A5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5704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2909445-02B6-4E56-A7B0-1BB27B4260FC}"/>
              </a:ext>
            </a:extLst>
          </p:cNvPr>
          <p:cNvGraphicFramePr>
            <a:graphicFrameLocks noChangeAspect="1"/>
          </p:cNvGraphicFramePr>
          <p:nvPr userDrawn="1">
            <p:custDataLst>
              <p:tags r:id="rId1"/>
            </p:custDataLst>
            <p:extLst>
              <p:ext uri="{D42A27DB-BD31-4B8C-83A1-F6EECF244321}">
                <p14:modId xmlns:p14="http://schemas.microsoft.com/office/powerpoint/2010/main" val="16922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22909445-02B6-4E56-A7B0-1BB27B4260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28650" y="372848"/>
            <a:ext cx="10335056" cy="625231"/>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2A18BD58-C52E-4A6F-AED1-72D7377E5F5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88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F4833E-00C3-43F2-8B8D-49D0EAF4A684}"/>
              </a:ext>
            </a:extLst>
          </p:cNvPr>
          <p:cNvGraphicFramePr>
            <a:graphicFrameLocks noChangeAspect="1"/>
          </p:cNvGraphicFramePr>
          <p:nvPr userDrawn="1">
            <p:custDataLst>
              <p:tags r:id="rId1"/>
            </p:custDataLst>
            <p:extLst>
              <p:ext uri="{D42A27DB-BD31-4B8C-83A1-F6EECF244321}">
                <p14:modId xmlns:p14="http://schemas.microsoft.com/office/powerpoint/2010/main" val="104744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9F4833E-00C3-43F2-8B8D-49D0EAF4A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121B7A6-36B9-436A-8DB6-0A11B14934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358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8181B7-812F-457B-8454-3B7F6C3D0F32}"/>
              </a:ext>
            </a:extLst>
          </p:cNvPr>
          <p:cNvGraphicFramePr>
            <a:graphicFrameLocks noChangeAspect="1"/>
          </p:cNvGraphicFramePr>
          <p:nvPr userDrawn="1">
            <p:custDataLst>
              <p:tags r:id="rId1"/>
            </p:custDataLst>
            <p:extLst>
              <p:ext uri="{D42A27DB-BD31-4B8C-83A1-F6EECF244321}">
                <p14:modId xmlns:p14="http://schemas.microsoft.com/office/powerpoint/2010/main" val="190115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78181B7-812F-457B-8454-3B7F6C3D0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7" name="TextBox 6">
            <a:extLst>
              <a:ext uri="{FF2B5EF4-FFF2-40B4-BE49-F238E27FC236}">
                <a16:creationId xmlns:a16="http://schemas.microsoft.com/office/drawing/2014/main" id="{5C7FF615-60FC-406E-B441-155CE0F7CC6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5026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D2F9C8-46F6-4E40-B4BD-43B696C1880B}"/>
              </a:ext>
            </a:extLst>
          </p:cNvPr>
          <p:cNvGraphicFramePr>
            <a:graphicFrameLocks noChangeAspect="1"/>
          </p:cNvGraphicFramePr>
          <p:nvPr userDrawn="1">
            <p:custDataLst>
              <p:tags r:id="rId1"/>
            </p:custDataLst>
            <p:extLst>
              <p:ext uri="{D42A27DB-BD31-4B8C-83A1-F6EECF244321}">
                <p14:modId xmlns:p14="http://schemas.microsoft.com/office/powerpoint/2010/main" val="41342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4D2F9C8-46F6-4E40-B4BD-43B696C18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119400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EC8A0A-E271-452D-94C4-3FBCECE48FA8}"/>
              </a:ext>
            </a:extLst>
          </p:cNvPr>
          <p:cNvGraphicFramePr>
            <a:graphicFrameLocks noChangeAspect="1"/>
          </p:cNvGraphicFramePr>
          <p:nvPr userDrawn="1">
            <p:custDataLst>
              <p:tags r:id="rId1"/>
            </p:custDataLst>
            <p:extLst>
              <p:ext uri="{D42A27DB-BD31-4B8C-83A1-F6EECF244321}">
                <p14:modId xmlns:p14="http://schemas.microsoft.com/office/powerpoint/2010/main" val="99045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09EC8A0A-E271-452D-94C4-3FBCECE48F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A8100BA-388E-4819-8FC6-BBC1FF672D46}"/>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4" y="2970799"/>
            <a:ext cx="3458169"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64928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CC2E2F-DDD8-465B-8E90-4C0391E1F26F}"/>
              </a:ext>
            </a:extLst>
          </p:cNvPr>
          <p:cNvGraphicFramePr>
            <a:graphicFrameLocks noChangeAspect="1"/>
          </p:cNvGraphicFramePr>
          <p:nvPr userDrawn="1">
            <p:custDataLst>
              <p:tags r:id="rId1"/>
            </p:custDataLst>
            <p:extLst>
              <p:ext uri="{D42A27DB-BD31-4B8C-83A1-F6EECF244321}">
                <p14:modId xmlns:p14="http://schemas.microsoft.com/office/powerpoint/2010/main" val="185520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ECCC2E2F-DDD8-465B-8E90-4C0391E1F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F24DAA7-A707-4B67-B45D-0F32F277C033}"/>
              </a:ext>
            </a:extLst>
          </p:cNvPr>
          <p:cNvSpPr>
            <a:spLocks noGrp="1"/>
          </p:cNvSpPr>
          <p:nvPr>
            <p:ph type="body" sz="quarter" idx="11" hasCustomPrompt="1"/>
          </p:nvPr>
        </p:nvSpPr>
        <p:spPr>
          <a:xfrm>
            <a:off x="5021826" y="1664256"/>
            <a:ext cx="6209072" cy="3323987"/>
          </a:xfrm>
        </p:spPr>
        <p:txBody>
          <a:bodyPr/>
          <a:lstStyle>
            <a:lvl1pPr>
              <a:defRPr sz="900">
                <a:latin typeface="+mn-lt"/>
                <a:ea typeface="+mn-ea"/>
                <a:cs typeface="+mn-cs"/>
              </a:defRPr>
            </a:lvl1pPr>
          </a:lstStyle>
          <a:p>
            <a:pPr lvl="0"/>
            <a:r>
              <a:rPr lang="en-US"/>
              <a:t>Text</a:t>
            </a:r>
          </a:p>
        </p:txBody>
      </p:sp>
      <p:sp>
        <p:nvSpPr>
          <p:cNvPr id="7" name="Title 6"/>
          <p:cNvSpPr txBox="1">
            <a:spLocks/>
          </p:cNvSpPr>
          <p:nvPr/>
        </p:nvSpPr>
        <p:spPr>
          <a:xfrm>
            <a:off x="639044" y="2970799"/>
            <a:ext cx="3484547"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04803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Google Shape;54;p13" title="CES_logo_black_text.png">
            <a:extLst>
              <a:ext uri="{FF2B5EF4-FFF2-40B4-BE49-F238E27FC236}">
                <a16:creationId xmlns:a16="http://schemas.microsoft.com/office/drawing/2014/main" id="{D4ED96F7-A07A-4A40-8A15-1D8A4C8DE354}"/>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89F56929-7BBC-4FFD-AF11-E61E1D0D44E0}"/>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65A3D253-CD74-4ABF-898F-331CC6FCBFEA}"/>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C7E94764-E3FB-49C0-BD6E-7130E82BD9B6}"/>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2388060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61D152-5A2E-40DB-8F0A-5CD5AF819F9C}"/>
              </a:ext>
            </a:extLst>
          </p:cNvPr>
          <p:cNvGraphicFramePr>
            <a:graphicFrameLocks noChangeAspect="1"/>
          </p:cNvGraphicFramePr>
          <p:nvPr userDrawn="1">
            <p:custDataLst>
              <p:tags r:id="rId1"/>
            </p:custDataLst>
            <p:extLst>
              <p:ext uri="{D42A27DB-BD31-4B8C-83A1-F6EECF244321}">
                <p14:modId xmlns:p14="http://schemas.microsoft.com/office/powerpoint/2010/main" val="208551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F61D152-5A2E-40DB-8F0A-5CD5AF819F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14993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2976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81993" y="1115416"/>
            <a:ext cx="254409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03DD0F26-712B-47AD-9488-F1F26B5092B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8698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2519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a:extLst>
              <a:ext uri="{FF2B5EF4-FFF2-40B4-BE49-F238E27FC236}">
                <a16:creationId xmlns:a16="http://schemas.microsoft.com/office/drawing/2014/main" id="{DEC1BF3D-ACBB-4C19-B0DD-F8A04E46478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15852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0046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29995F2-0E19-499D-9B52-23923E3CC38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2980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3448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BD2BD2C2-B3E5-4CD4-9C05-AD009F3501A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9944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4103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81993" y="1115416"/>
            <a:ext cx="254409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873053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5593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249550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26089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826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3965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8F109434-459B-4DDC-ABEE-06D1D92CE8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31816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6548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Google Shape;54;p13" title="CES_logo_black_text.png">
            <a:extLst>
              <a:ext uri="{FF2B5EF4-FFF2-40B4-BE49-F238E27FC236}">
                <a16:creationId xmlns:a16="http://schemas.microsoft.com/office/drawing/2014/main" id="{66607ED6-29EA-48D2-8341-C4440CFA60B0}"/>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253B32EB-40C3-4D5F-BAFA-D4B6ACC12751}"/>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35FB2646-D538-4740-B34B-1502FEE4609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19F3A4AF-542A-4929-8A9E-F3E4E33F1D0D}"/>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9285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3D66FA5-7B36-4E4B-BF76-6798A93CEFE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99084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164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A85A4732-2F33-4385-A197-BEA58AE19F2E}"/>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5650BC8D-3610-42B6-A945-BF2EF110C559}"/>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86D78A92-0EA9-4A05-8873-A99CB7E53E8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5" name="Title 4">
            <a:extLst>
              <a:ext uri="{FF2B5EF4-FFF2-40B4-BE49-F238E27FC236}">
                <a16:creationId xmlns:a16="http://schemas.microsoft.com/office/drawing/2014/main" id="{C5F4C152-A981-4E3C-BFA6-E81005567DCF}"/>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8" name="Text Placeholder 27">
            <a:extLst>
              <a:ext uri="{FF2B5EF4-FFF2-40B4-BE49-F238E27FC236}">
                <a16:creationId xmlns:a16="http://schemas.microsoft.com/office/drawing/2014/main" id="{970461A4-5BF6-430C-AE97-D6BBEF281DDA}"/>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31" name="Text Placeholder 27">
            <a:extLst>
              <a:ext uri="{FF2B5EF4-FFF2-40B4-BE49-F238E27FC236}">
                <a16:creationId xmlns:a16="http://schemas.microsoft.com/office/drawing/2014/main" id="{F087F99F-53B3-4D3D-BB89-F5B2D3AF0BC7}"/>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extLst>
      <p:ext uri="{BB962C8B-B14F-4D97-AF65-F5344CB8AC3E}">
        <p14:creationId xmlns:p14="http://schemas.microsoft.com/office/powerpoint/2010/main" val="3922135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18066F-E432-4E7F-8055-A15BF65B33A7}"/>
              </a:ext>
            </a:extLst>
          </p:cNvPr>
          <p:cNvGraphicFramePr>
            <a:graphicFrameLocks noChangeAspect="1"/>
          </p:cNvGraphicFramePr>
          <p:nvPr userDrawn="1">
            <p:custDataLst>
              <p:tags r:id="rId1"/>
            </p:custDataLst>
            <p:extLst>
              <p:ext uri="{D42A27DB-BD31-4B8C-83A1-F6EECF244321}">
                <p14:modId xmlns:p14="http://schemas.microsoft.com/office/powerpoint/2010/main" val="384897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A18066F-E432-4E7F-8055-A15BF65B33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28650" y="372849"/>
            <a:ext cx="1033505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4" name="Picture 13" descr="A black text on a white background&#10;&#10;AI-generated content may be incorrect.">
            <a:extLst>
              <a:ext uri="{FF2B5EF4-FFF2-40B4-BE49-F238E27FC236}">
                <a16:creationId xmlns:a16="http://schemas.microsoft.com/office/drawing/2014/main" id="{4CB69AB6-3D63-4CA8-9354-654766C05D6D}"/>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3742964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F048F-58C0-44FC-A642-EACEEB7D025E}"/>
              </a:ext>
            </a:extLst>
          </p:cNvPr>
          <p:cNvGraphicFramePr>
            <a:graphicFrameLocks noChangeAspect="1"/>
          </p:cNvGraphicFramePr>
          <p:nvPr userDrawn="1">
            <p:custDataLst>
              <p:tags r:id="rId1"/>
            </p:custDataLst>
            <p:extLst>
              <p:ext uri="{D42A27DB-BD31-4B8C-83A1-F6EECF244321}">
                <p14:modId xmlns:p14="http://schemas.microsoft.com/office/powerpoint/2010/main" val="82201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C0F048F-58C0-44FC-A642-EACEEB7D0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650" y="372849"/>
            <a:ext cx="10335056" cy="625231"/>
          </a:xfrm>
        </p:spPr>
        <p:txBody>
          <a:bodyPr vert="horz"/>
          <a:lstStyle>
            <a:lvl1pPr>
              <a:defRPr sz="3400">
                <a:solidFill>
                  <a:schemeClr val="tx1"/>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1" name="Picture 10" descr="A black text on a white background&#10;&#10;AI-generated content may be incorrect.">
            <a:extLst>
              <a:ext uri="{FF2B5EF4-FFF2-40B4-BE49-F238E27FC236}">
                <a16:creationId xmlns:a16="http://schemas.microsoft.com/office/drawing/2014/main" id="{BEE79C89-9A51-457C-B2D6-C6B9CE657322}"/>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482902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7709EF-6E54-4E28-8DBA-802869043E78}"/>
              </a:ext>
            </a:extLst>
          </p:cNvPr>
          <p:cNvGraphicFramePr>
            <a:graphicFrameLocks noChangeAspect="1"/>
          </p:cNvGraphicFramePr>
          <p:nvPr userDrawn="1">
            <p:custDataLst>
              <p:tags r:id="rId1"/>
            </p:custDataLst>
            <p:extLst>
              <p:ext uri="{D42A27DB-BD31-4B8C-83A1-F6EECF244321}">
                <p14:modId xmlns:p14="http://schemas.microsoft.com/office/powerpoint/2010/main" val="370910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7709EF-6E54-4E28-8DBA-802869043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5824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BE88F2-1C18-4AE5-8B29-1356AE91B935}"/>
              </a:ext>
            </a:extLst>
          </p:cNvPr>
          <p:cNvGraphicFramePr>
            <a:graphicFrameLocks noChangeAspect="1"/>
          </p:cNvGraphicFramePr>
          <p:nvPr userDrawn="1">
            <p:custDataLst>
              <p:tags r:id="rId1"/>
            </p:custDataLst>
            <p:extLst>
              <p:ext uri="{D42A27DB-BD31-4B8C-83A1-F6EECF244321}">
                <p14:modId xmlns:p14="http://schemas.microsoft.com/office/powerpoint/2010/main" val="56107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88BE88F2-1C18-4AE5-8B29-1356AE91B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21D4FDC-931F-4F23-BEAA-ECE2DE1CC10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57762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C1ABD6-2000-4130-B009-AE5995B346DF}"/>
              </a:ext>
            </a:extLst>
          </p:cNvPr>
          <p:cNvGraphicFramePr>
            <a:graphicFrameLocks noChangeAspect="1"/>
          </p:cNvGraphicFramePr>
          <p:nvPr userDrawn="1">
            <p:custDataLst>
              <p:tags r:id="rId1"/>
            </p:custDataLst>
            <p:extLst>
              <p:ext uri="{D42A27DB-BD31-4B8C-83A1-F6EECF244321}">
                <p14:modId xmlns:p14="http://schemas.microsoft.com/office/powerpoint/2010/main" val="335249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9C1ABD6-2000-4130-B009-AE5995B346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B756CE9-44F4-4021-B5E6-2C952541FB5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27343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B3A935-A6B6-42D3-AB54-1463721681C5}"/>
              </a:ext>
            </a:extLst>
          </p:cNvPr>
          <p:cNvGraphicFramePr>
            <a:graphicFrameLocks noChangeAspect="1"/>
          </p:cNvGraphicFramePr>
          <p:nvPr userDrawn="1">
            <p:custDataLst>
              <p:tags r:id="rId1"/>
            </p:custDataLst>
            <p:extLst>
              <p:ext uri="{D42A27DB-BD31-4B8C-83A1-F6EECF244321}">
                <p14:modId xmlns:p14="http://schemas.microsoft.com/office/powerpoint/2010/main" val="359547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BEB3A935-A6B6-42D3-AB54-146372168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E1CCFC44-9268-4C8D-9BC5-49F78744612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78070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65EA47-558A-4F73-B049-0F7BC097BAA2}"/>
              </a:ext>
            </a:extLst>
          </p:cNvPr>
          <p:cNvGraphicFramePr>
            <a:graphicFrameLocks noChangeAspect="1"/>
          </p:cNvGraphicFramePr>
          <p:nvPr userDrawn="1">
            <p:custDataLst>
              <p:tags r:id="rId1"/>
            </p:custDataLst>
            <p:extLst>
              <p:ext uri="{D42A27DB-BD31-4B8C-83A1-F6EECF244321}">
                <p14:modId xmlns:p14="http://schemas.microsoft.com/office/powerpoint/2010/main" val="81762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865EA47-558A-4F73-B049-0F7BC097B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9CAF7DA5-C103-4A57-8E71-B606800711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299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A84018-3EA9-4268-8F41-C277173CD962}"/>
              </a:ext>
            </a:extLst>
          </p:cNvPr>
          <p:cNvGraphicFramePr>
            <a:graphicFrameLocks noChangeAspect="1"/>
          </p:cNvGraphicFramePr>
          <p:nvPr userDrawn="1">
            <p:custDataLst>
              <p:tags r:id="rId1"/>
            </p:custDataLst>
            <p:extLst>
              <p:ext uri="{D42A27DB-BD31-4B8C-83A1-F6EECF244321}">
                <p14:modId xmlns:p14="http://schemas.microsoft.com/office/powerpoint/2010/main" val="11124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1A84018-3EA9-4268-8F41-C277173CD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TextBox 16">
            <a:extLst>
              <a:ext uri="{FF2B5EF4-FFF2-40B4-BE49-F238E27FC236}">
                <a16:creationId xmlns:a16="http://schemas.microsoft.com/office/drawing/2014/main" id="{BB721522-3DA9-4BD5-9C88-09C65BBDABC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08855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BD839F-4D6D-4DF1-931C-46FE5B9C8BB6}"/>
              </a:ext>
            </a:extLst>
          </p:cNvPr>
          <p:cNvGraphicFramePr>
            <a:graphicFrameLocks noChangeAspect="1"/>
          </p:cNvGraphicFramePr>
          <p:nvPr userDrawn="1">
            <p:custDataLst>
              <p:tags r:id="rId1"/>
            </p:custDataLst>
            <p:extLst>
              <p:ext uri="{D42A27DB-BD31-4B8C-83A1-F6EECF244321}">
                <p14:modId xmlns:p14="http://schemas.microsoft.com/office/powerpoint/2010/main" val="198154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BD839F-4D6D-4DF1-931C-46FE5B9C8B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AE52FD-78CA-4E2C-ADBF-6DAE497A73D0}"/>
              </a:ext>
            </a:extLst>
          </p:cNvPr>
          <p:cNvGraphicFramePr>
            <a:graphicFrameLocks noChangeAspect="1"/>
          </p:cNvGraphicFramePr>
          <p:nvPr userDrawn="1">
            <p:custDataLst>
              <p:tags r:id="rId1"/>
            </p:custDataLst>
            <p:extLst>
              <p:ext uri="{D42A27DB-BD31-4B8C-83A1-F6EECF244321}">
                <p14:modId xmlns:p14="http://schemas.microsoft.com/office/powerpoint/2010/main" val="147427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0BAE52FD-78CA-4E2C-ADBF-6DAE497A7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939A6F1A-4EBC-496D-A433-03C106A3D59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0709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286D79-0943-4E90-936D-ABF66DD6DDEE}"/>
              </a:ext>
            </a:extLst>
          </p:cNvPr>
          <p:cNvGraphicFramePr>
            <a:graphicFrameLocks noChangeAspect="1"/>
          </p:cNvGraphicFramePr>
          <p:nvPr userDrawn="1">
            <p:custDataLst>
              <p:tags r:id="rId1"/>
            </p:custDataLst>
            <p:extLst>
              <p:ext uri="{D42A27DB-BD31-4B8C-83A1-F6EECF244321}">
                <p14:modId xmlns:p14="http://schemas.microsoft.com/office/powerpoint/2010/main" val="175542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1286D79-0943-4E90-936D-ABF66DD6DD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TextBox 16">
            <a:extLst>
              <a:ext uri="{FF2B5EF4-FFF2-40B4-BE49-F238E27FC236}">
                <a16:creationId xmlns:a16="http://schemas.microsoft.com/office/drawing/2014/main" id="{983CE9E3-A6B0-4FFC-8C45-F992ABD131C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5370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6136DB-5336-4120-9768-E44D77E60A10}"/>
              </a:ext>
            </a:extLst>
          </p:cNvPr>
          <p:cNvGraphicFramePr>
            <a:graphicFrameLocks noChangeAspect="1"/>
          </p:cNvGraphicFramePr>
          <p:nvPr userDrawn="1">
            <p:custDataLst>
              <p:tags r:id="rId1"/>
            </p:custDataLst>
            <p:extLst>
              <p:ext uri="{D42A27DB-BD31-4B8C-83A1-F6EECF244321}">
                <p14:modId xmlns:p14="http://schemas.microsoft.com/office/powerpoint/2010/main" val="105435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B96136DB-5336-4120-9768-E44D77E60A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8D4B112-5040-4D4E-9EC1-0406E1482DC4}"/>
              </a:ext>
            </a:extLst>
          </p:cNvPr>
          <p:cNvSpPr>
            <a:spLocks noGrp="1"/>
          </p:cNvSpPr>
          <p:nvPr>
            <p:ph type="title" hasCustomPrompt="1"/>
          </p:nvPr>
        </p:nvSpPr>
        <p:spPr>
          <a:xfrm>
            <a:off x="630000" y="2764203"/>
            <a:ext cx="2478638" cy="1314310"/>
          </a:xfrm>
        </p:spPr>
        <p:txBody>
          <a:bodyPr vert="horz" anchor="ctr"/>
          <a:lstStyle>
            <a:lvl1pPr>
              <a:defRPr sz="3400">
                <a:latin typeface="+mj-lt"/>
                <a:ea typeface="+mj-ea"/>
                <a:cs typeface="+mj-cs"/>
              </a:defRPr>
            </a:lvl1pPr>
          </a:lstStyle>
          <a:p>
            <a:r>
              <a:rPr lang="en-US"/>
              <a:t>Click to add title</a:t>
            </a:r>
          </a:p>
        </p:txBody>
      </p:sp>
      <p:sp>
        <p:nvSpPr>
          <p:cNvPr id="22" name="TextBox 21">
            <a:extLst>
              <a:ext uri="{FF2B5EF4-FFF2-40B4-BE49-F238E27FC236}">
                <a16:creationId xmlns:a16="http://schemas.microsoft.com/office/drawing/2014/main" id="{EA131D20-D2EB-4EB1-BE4F-CD20E14328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8807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8C18E8-82A7-4C50-8341-9782E0A64026}"/>
              </a:ext>
            </a:extLst>
          </p:cNvPr>
          <p:cNvGraphicFramePr>
            <a:graphicFrameLocks noChangeAspect="1"/>
          </p:cNvGraphicFramePr>
          <p:nvPr userDrawn="1">
            <p:custDataLst>
              <p:tags r:id="rId1"/>
            </p:custDataLst>
            <p:extLst>
              <p:ext uri="{D42A27DB-BD31-4B8C-83A1-F6EECF244321}">
                <p14:modId xmlns:p14="http://schemas.microsoft.com/office/powerpoint/2010/main" val="72508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9C8C18E8-82A7-4C50-8341-9782E0A64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9" name="TextBox 18">
            <a:extLst>
              <a:ext uri="{FF2B5EF4-FFF2-40B4-BE49-F238E27FC236}">
                <a16:creationId xmlns:a16="http://schemas.microsoft.com/office/drawing/2014/main" id="{85FFBF2F-228F-4BB0-8249-F2AF0C4BC19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40587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5232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2A47957-D0A1-4F95-B614-03EF4678D79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764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F9B664-2F23-4F08-83F6-0FA280702B54}"/>
              </a:ext>
            </a:extLst>
          </p:cNvPr>
          <p:cNvGraphicFramePr>
            <a:graphicFrameLocks noChangeAspect="1"/>
          </p:cNvGraphicFramePr>
          <p:nvPr userDrawn="1">
            <p:custDataLst>
              <p:tags r:id="rId1"/>
            </p:custDataLst>
            <p:extLst>
              <p:ext uri="{D42A27DB-BD31-4B8C-83A1-F6EECF244321}">
                <p14:modId xmlns:p14="http://schemas.microsoft.com/office/powerpoint/2010/main" val="228512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6AF9B664-2F23-4F08-83F6-0FA280702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a:extLst>
              <a:ext uri="{FF2B5EF4-FFF2-40B4-BE49-F238E27FC236}">
                <a16:creationId xmlns:a16="http://schemas.microsoft.com/office/drawing/2014/main" id="{8F4A34E1-683A-4C27-A5E7-0FDD4FCA23E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1806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FDBBAF-D6DF-4302-838F-6C60A64A6782}"/>
              </a:ext>
            </a:extLst>
          </p:cNvPr>
          <p:cNvGraphicFramePr>
            <a:graphicFrameLocks noChangeAspect="1"/>
          </p:cNvGraphicFramePr>
          <p:nvPr userDrawn="1">
            <p:custDataLst>
              <p:tags r:id="rId1"/>
            </p:custDataLst>
            <p:extLst>
              <p:ext uri="{D42A27DB-BD31-4B8C-83A1-F6EECF244321}">
                <p14:modId xmlns:p14="http://schemas.microsoft.com/office/powerpoint/2010/main" val="406022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FBFDBBAF-D6DF-4302-838F-6C60A64A6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2B038D75-A588-4511-8B61-FAC002D4999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96986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C30748-C5B3-41B2-B071-24182760D4BC}"/>
              </a:ext>
            </a:extLst>
          </p:cNvPr>
          <p:cNvGraphicFramePr>
            <a:graphicFrameLocks noChangeAspect="1"/>
          </p:cNvGraphicFramePr>
          <p:nvPr userDrawn="1">
            <p:custDataLst>
              <p:tags r:id="rId1"/>
            </p:custDataLst>
            <p:extLst>
              <p:ext uri="{D42A27DB-BD31-4B8C-83A1-F6EECF244321}">
                <p14:modId xmlns:p14="http://schemas.microsoft.com/office/powerpoint/2010/main" val="206399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7DC30748-C5B3-41B2-B071-24182760D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372849"/>
            <a:ext cx="4673646"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TextBox 17">
            <a:extLst>
              <a:ext uri="{FF2B5EF4-FFF2-40B4-BE49-F238E27FC236}">
                <a16:creationId xmlns:a16="http://schemas.microsoft.com/office/drawing/2014/main" id="{447209EA-6BC9-4C36-BA74-CBB0BC43A3E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0024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B401D2-EF86-4E9A-A4AE-DD63244F4E40}"/>
              </a:ext>
            </a:extLst>
          </p:cNvPr>
          <p:cNvGraphicFramePr>
            <a:graphicFrameLocks noChangeAspect="1"/>
          </p:cNvGraphicFramePr>
          <p:nvPr userDrawn="1">
            <p:custDataLst>
              <p:tags r:id="rId1"/>
            </p:custDataLst>
            <p:extLst>
              <p:ext uri="{D42A27DB-BD31-4B8C-83A1-F6EECF244321}">
                <p14:modId xmlns:p14="http://schemas.microsoft.com/office/powerpoint/2010/main" val="112657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9B401D2-EF86-4E9A-A4AE-DD63244F4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372848"/>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A6BB492D-734B-4FE6-ADAE-5011DE01A5F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57006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FE409A-D47F-4F8B-89BA-A1F30A0E50B2}"/>
              </a:ext>
            </a:extLst>
          </p:cNvPr>
          <p:cNvGraphicFramePr>
            <a:graphicFrameLocks noChangeAspect="1"/>
          </p:cNvGraphicFramePr>
          <p:nvPr userDrawn="1">
            <p:custDataLst>
              <p:tags r:id="rId1"/>
            </p:custDataLst>
            <p:extLst>
              <p:ext uri="{D42A27DB-BD31-4B8C-83A1-F6EECF244321}">
                <p14:modId xmlns:p14="http://schemas.microsoft.com/office/powerpoint/2010/main" val="151385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BFE409A-D47F-4F8B-89BA-A1F30A0E5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1" name="TextBox 20">
            <a:extLst>
              <a:ext uri="{FF2B5EF4-FFF2-40B4-BE49-F238E27FC236}">
                <a16:creationId xmlns:a16="http://schemas.microsoft.com/office/drawing/2014/main" id="{197E209B-C8AC-4092-8EAE-558742F2031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1311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768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35282B56-8D63-4623-8F62-F933FC3B86F0}"/>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7630E2E3-FF84-4176-A68A-5C42BDA55FAF}"/>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0D3B8970-4662-4497-B400-3C3D2B9166C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23" name="Title 4">
            <a:extLst>
              <a:ext uri="{FF2B5EF4-FFF2-40B4-BE49-F238E27FC236}">
                <a16:creationId xmlns:a16="http://schemas.microsoft.com/office/drawing/2014/main" id="{02A108F0-B73C-4474-A27C-598A9632BAE6}"/>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4" name="Text Placeholder 27">
            <a:extLst>
              <a:ext uri="{FF2B5EF4-FFF2-40B4-BE49-F238E27FC236}">
                <a16:creationId xmlns:a16="http://schemas.microsoft.com/office/drawing/2014/main" id="{EB440D3E-4693-47E6-AD27-1A2C2FC34BE8}"/>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25" name="Text Placeholder 27">
            <a:extLst>
              <a:ext uri="{FF2B5EF4-FFF2-40B4-BE49-F238E27FC236}">
                <a16:creationId xmlns:a16="http://schemas.microsoft.com/office/drawing/2014/main" id="{37105B42-A0BF-41C7-9D67-AF5CD0AA2AE6}"/>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2E9863-204F-4E97-B806-591EEB556315}"/>
              </a:ext>
            </a:extLst>
          </p:cNvPr>
          <p:cNvGraphicFramePr>
            <a:graphicFrameLocks noChangeAspect="1"/>
          </p:cNvGraphicFramePr>
          <p:nvPr userDrawn="1">
            <p:custDataLst>
              <p:tags r:id="rId1"/>
            </p:custDataLst>
            <p:extLst>
              <p:ext uri="{D42A27DB-BD31-4B8C-83A1-F6EECF244321}">
                <p14:modId xmlns:p14="http://schemas.microsoft.com/office/powerpoint/2010/main" val="231641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FA2E9863-204F-4E97-B806-591EEB5563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TextBox 10">
            <a:extLst>
              <a:ext uri="{FF2B5EF4-FFF2-40B4-BE49-F238E27FC236}">
                <a16:creationId xmlns:a16="http://schemas.microsoft.com/office/drawing/2014/main" id="{D4667229-B707-45AC-AED2-D60DEEEC772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39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62F51-4AD0-46D5-9EE1-8504F07A683C}"/>
              </a:ext>
            </a:extLst>
          </p:cNvPr>
          <p:cNvGraphicFramePr>
            <a:graphicFrameLocks noChangeAspect="1"/>
          </p:cNvGraphicFramePr>
          <p:nvPr userDrawn="1">
            <p:custDataLst>
              <p:tags r:id="rId1"/>
            </p:custDataLst>
            <p:extLst>
              <p:ext uri="{D42A27DB-BD31-4B8C-83A1-F6EECF244321}">
                <p14:modId xmlns:p14="http://schemas.microsoft.com/office/powerpoint/2010/main" val="24286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77562F51-4AD0-46D5-9EE1-8504F07A68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963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B2D3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46252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2386C873-B2E0-421E-995D-1B6FA8857052}"/>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95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9108CB-D5CF-4B71-B79D-860E0348F575}"/>
              </a:ext>
            </a:extLst>
          </p:cNvPr>
          <p:cNvGraphicFramePr>
            <a:graphicFrameLocks noChangeAspect="1"/>
          </p:cNvGraphicFramePr>
          <p:nvPr userDrawn="1">
            <p:custDataLst>
              <p:tags r:id="rId1"/>
            </p:custDataLst>
            <p:extLst>
              <p:ext uri="{D42A27DB-BD31-4B8C-83A1-F6EECF244321}">
                <p14:modId xmlns:p14="http://schemas.microsoft.com/office/powerpoint/2010/main" val="1778337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D9108CB-D5CF-4B71-B79D-860E0348F5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628650" y="372849"/>
            <a:ext cx="10335056" cy="625231"/>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9FB66962-778B-4167-8E09-3ED6DD1A8A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9408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0F36FE-C928-4C3E-9473-C33179785B84}"/>
              </a:ext>
            </a:extLst>
          </p:cNvPr>
          <p:cNvGraphicFramePr>
            <a:graphicFrameLocks noChangeAspect="1"/>
          </p:cNvGraphicFramePr>
          <p:nvPr userDrawn="1">
            <p:custDataLst>
              <p:tags r:id="rId1"/>
            </p:custDataLst>
            <p:extLst>
              <p:ext uri="{D42A27DB-BD31-4B8C-83A1-F6EECF244321}">
                <p14:modId xmlns:p14="http://schemas.microsoft.com/office/powerpoint/2010/main" val="908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900F36FE-C928-4C3E-9473-C33179785B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71673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07B438-2231-432D-8277-AD4B7C4A079A}"/>
              </a:ext>
            </a:extLst>
          </p:cNvPr>
          <p:cNvGraphicFramePr>
            <a:graphicFrameLocks noChangeAspect="1"/>
          </p:cNvGraphicFramePr>
          <p:nvPr userDrawn="1">
            <p:custDataLst>
              <p:tags r:id="rId1"/>
            </p:custDataLst>
            <p:extLst>
              <p:ext uri="{D42A27DB-BD31-4B8C-83A1-F6EECF244321}">
                <p14:modId xmlns:p14="http://schemas.microsoft.com/office/powerpoint/2010/main" val="242149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C07B438-2231-432D-8277-AD4B7C4A0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086104FA-02F1-4D20-893A-9A89E677D9E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9526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CC2E2F-DDD8-465B-8E90-4C0391E1F26F}"/>
              </a:ext>
            </a:extLst>
          </p:cNvPr>
          <p:cNvGraphicFramePr>
            <a:graphicFrameLocks noChangeAspect="1"/>
          </p:cNvGraphicFramePr>
          <p:nvPr userDrawn="1">
            <p:custDataLst>
              <p:tags r:id="rId1"/>
            </p:custDataLst>
            <p:extLst>
              <p:ext uri="{D42A27DB-BD31-4B8C-83A1-F6EECF244321}">
                <p14:modId xmlns:p14="http://schemas.microsoft.com/office/powerpoint/2010/main" val="185520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ECCC2E2F-DDD8-465B-8E90-4C0391E1F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F24DAA7-A707-4B67-B45D-0F32F277C033}"/>
              </a:ext>
            </a:extLst>
          </p:cNvPr>
          <p:cNvSpPr>
            <a:spLocks noGrp="1"/>
          </p:cNvSpPr>
          <p:nvPr>
            <p:ph type="body" sz="quarter" idx="11" hasCustomPrompt="1"/>
          </p:nvPr>
        </p:nvSpPr>
        <p:spPr>
          <a:xfrm>
            <a:off x="5021826" y="1664256"/>
            <a:ext cx="6209072" cy="3323987"/>
          </a:xfrm>
        </p:spPr>
        <p:txBody>
          <a:bodyPr/>
          <a:lstStyle>
            <a:lvl1pPr>
              <a:defRPr sz="900">
                <a:latin typeface="+mn-lt"/>
                <a:ea typeface="+mn-ea"/>
                <a:cs typeface="+mn-cs"/>
              </a:defRPr>
            </a:lvl1pPr>
          </a:lstStyle>
          <a:p>
            <a:pPr lvl="0"/>
            <a:r>
              <a:rPr lang="en-US"/>
              <a:t>Text</a:t>
            </a:r>
          </a:p>
        </p:txBody>
      </p:sp>
      <p:sp>
        <p:nvSpPr>
          <p:cNvPr id="7" name="Title 6"/>
          <p:cNvSpPr txBox="1">
            <a:spLocks/>
          </p:cNvSpPr>
          <p:nvPr/>
        </p:nvSpPr>
        <p:spPr>
          <a:xfrm>
            <a:off x="639044" y="2970799"/>
            <a:ext cx="3484547"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7801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6548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Google Shape;54;p13" title="CES_logo_black_text.png">
            <a:extLst>
              <a:ext uri="{FF2B5EF4-FFF2-40B4-BE49-F238E27FC236}">
                <a16:creationId xmlns:a16="http://schemas.microsoft.com/office/drawing/2014/main" id="{66607ED6-29EA-48D2-8341-C4440CFA60B0}"/>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253B32EB-40C3-4D5F-BAFA-D4B6ACC12751}"/>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35FB2646-D538-4740-B34B-1502FEE4609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19F3A4AF-542A-4929-8A9E-F3E4E33F1D0D}"/>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1299488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BD839F-4D6D-4DF1-931C-46FE5B9C8BB6}"/>
              </a:ext>
            </a:extLst>
          </p:cNvPr>
          <p:cNvGraphicFramePr>
            <a:graphicFrameLocks noChangeAspect="1"/>
          </p:cNvGraphicFramePr>
          <p:nvPr userDrawn="1">
            <p:custDataLst>
              <p:tags r:id="rId1"/>
            </p:custDataLst>
            <p:extLst>
              <p:ext uri="{D42A27DB-BD31-4B8C-83A1-F6EECF244321}">
                <p14:modId xmlns:p14="http://schemas.microsoft.com/office/powerpoint/2010/main" val="198154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BD839F-4D6D-4DF1-931C-46FE5B9C8B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702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768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Google Shape;54;p13" title="CES_logo_black_text.png">
            <a:extLst>
              <a:ext uri="{FF2B5EF4-FFF2-40B4-BE49-F238E27FC236}">
                <a16:creationId xmlns:a16="http://schemas.microsoft.com/office/drawing/2014/main" id="{35282B56-8D63-4623-8F62-F933FC3B86F0}"/>
              </a:ext>
            </a:extLst>
          </p:cNvPr>
          <p:cNvPicPr preferRelativeResize="0"/>
          <p:nvPr userDrawn="1"/>
        </p:nvPicPr>
        <p:blipFill>
          <a:blip r:embed="rId6">
            <a:alphaModFix/>
          </a:blip>
          <a:stretch>
            <a:fillRect/>
          </a:stretch>
        </p:blipFill>
        <p:spPr>
          <a:xfrm>
            <a:off x="10363017" y="2524200"/>
            <a:ext cx="1566433" cy="1174800"/>
          </a:xfrm>
          <a:prstGeom prst="rect">
            <a:avLst/>
          </a:prstGeom>
          <a:noFill/>
          <a:ln>
            <a:noFill/>
          </a:ln>
        </p:spPr>
      </p:pic>
      <p:sp>
        <p:nvSpPr>
          <p:cNvPr id="17" name="Google Shape;55;p13">
            <a:extLst>
              <a:ext uri="{FF2B5EF4-FFF2-40B4-BE49-F238E27FC236}">
                <a16:creationId xmlns:a16="http://schemas.microsoft.com/office/drawing/2014/main" id="{7630E2E3-FF84-4176-A68A-5C42BDA55FAF}"/>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9" name="Google Shape;56;p13">
            <a:extLst>
              <a:ext uri="{FF2B5EF4-FFF2-40B4-BE49-F238E27FC236}">
                <a16:creationId xmlns:a16="http://schemas.microsoft.com/office/drawing/2014/main" id="{0D3B8970-4662-4497-B400-3C3D2B9166CD}"/>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23" name="Title 4">
            <a:extLst>
              <a:ext uri="{FF2B5EF4-FFF2-40B4-BE49-F238E27FC236}">
                <a16:creationId xmlns:a16="http://schemas.microsoft.com/office/drawing/2014/main" id="{02A108F0-B73C-4474-A27C-598A9632BAE6}"/>
              </a:ext>
            </a:extLst>
          </p:cNvPr>
          <p:cNvSpPr>
            <a:spLocks noGrp="1"/>
          </p:cNvSpPr>
          <p:nvPr>
            <p:ph type="title" hasCustomPrompt="1"/>
          </p:nvPr>
        </p:nvSpPr>
        <p:spPr>
          <a:xfrm>
            <a:off x="3460937" y="2033666"/>
            <a:ext cx="4562000" cy="677068"/>
          </a:xfrm>
        </p:spPr>
        <p:txBody>
          <a:bodyPr vert="horz" lIns="118872" tIns="118872" rIns="118872" bIns="118872" anchor="ctr"/>
          <a:lstStyle>
            <a:lvl1pPr marL="0" algn="l" defTabSz="914400" rtl="0" eaLnBrk="1" latinLnBrk="0" hangingPunct="1">
              <a:lnSpc>
                <a:spcPct val="100000"/>
              </a:lnSpc>
              <a:defRPr lang="en-US" sz="2800" b="1" kern="1200" dirty="0">
                <a:solidFill>
                  <a:schemeClr val="dk1"/>
                </a:solidFill>
                <a:latin typeface="+mn-lt"/>
                <a:ea typeface="Open Sans" panose="020B0606030504020204" pitchFamily="34" charset="0"/>
                <a:cs typeface="Open Sans" panose="020B0606030504020204" pitchFamily="34" charset="0"/>
              </a:defRPr>
            </a:lvl1pPr>
          </a:lstStyle>
          <a:p>
            <a:r>
              <a:rPr lang="en-US"/>
              <a:t>Click to add text</a:t>
            </a:r>
          </a:p>
        </p:txBody>
      </p:sp>
      <p:sp>
        <p:nvSpPr>
          <p:cNvPr id="24" name="Text Placeholder 27">
            <a:extLst>
              <a:ext uri="{FF2B5EF4-FFF2-40B4-BE49-F238E27FC236}">
                <a16:creationId xmlns:a16="http://schemas.microsoft.com/office/drawing/2014/main" id="{EB440D3E-4693-47E6-AD27-1A2C2FC34BE8}"/>
              </a:ext>
            </a:extLst>
          </p:cNvPr>
          <p:cNvSpPr>
            <a:spLocks noGrp="1"/>
          </p:cNvSpPr>
          <p:nvPr>
            <p:ph type="body" sz="quarter" idx="10" hasCustomPrompt="1"/>
          </p:nvPr>
        </p:nvSpPr>
        <p:spPr>
          <a:xfrm>
            <a:off x="3460937" y="2688128"/>
            <a:ext cx="5878451" cy="1067047"/>
          </a:xfrm>
        </p:spPr>
        <p:txBody>
          <a:bodyPr lIns="118872" tIns="118872" rIns="118872" bIns="118872" anchor="ctr"/>
          <a:lstStyle>
            <a:lvl1pPr>
              <a:defRPr sz="2700"/>
            </a:lvl1pPr>
          </a:lstStyle>
          <a:p>
            <a:pPr lvl="0"/>
            <a:r>
              <a:rPr lang="en-US"/>
              <a:t>Click to add title</a:t>
            </a:r>
          </a:p>
        </p:txBody>
      </p:sp>
      <p:sp>
        <p:nvSpPr>
          <p:cNvPr id="25" name="Text Placeholder 27">
            <a:extLst>
              <a:ext uri="{FF2B5EF4-FFF2-40B4-BE49-F238E27FC236}">
                <a16:creationId xmlns:a16="http://schemas.microsoft.com/office/drawing/2014/main" id="{37105B42-A0BF-41C7-9D67-AF5CD0AA2AE6}"/>
              </a:ext>
            </a:extLst>
          </p:cNvPr>
          <p:cNvSpPr>
            <a:spLocks noGrp="1"/>
          </p:cNvSpPr>
          <p:nvPr>
            <p:ph type="body" sz="quarter" idx="11" hasCustomPrompt="1"/>
          </p:nvPr>
        </p:nvSpPr>
        <p:spPr>
          <a:xfrm>
            <a:off x="3460937" y="4046616"/>
            <a:ext cx="4721771" cy="512857"/>
          </a:xfrm>
        </p:spPr>
        <p:txBody>
          <a:bodyPr lIns="118872" tIns="118872" rIns="118872" bIns="118872" anchor="ctr"/>
          <a:lstStyle>
            <a:lvl1pPr>
              <a:defRPr sz="1800"/>
            </a:lvl1pPr>
          </a:lstStyle>
          <a:p>
            <a:pPr lvl="0"/>
            <a:r>
              <a:rPr lang="en-US"/>
              <a:t>Date</a:t>
            </a:r>
          </a:p>
        </p:txBody>
      </p:sp>
    </p:spTree>
    <p:extLst>
      <p:ext uri="{BB962C8B-B14F-4D97-AF65-F5344CB8AC3E}">
        <p14:creationId xmlns:p14="http://schemas.microsoft.com/office/powerpoint/2010/main" val="2020833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0F048F-58C0-44FC-A642-EACEEB7D025E}"/>
              </a:ext>
            </a:extLst>
          </p:cNvPr>
          <p:cNvGraphicFramePr>
            <a:graphicFrameLocks noChangeAspect="1"/>
          </p:cNvGraphicFramePr>
          <p:nvPr userDrawn="1">
            <p:custDataLst>
              <p:tags r:id="rId1"/>
            </p:custDataLst>
            <p:extLst>
              <p:ext uri="{D42A27DB-BD31-4B8C-83A1-F6EECF244321}">
                <p14:modId xmlns:p14="http://schemas.microsoft.com/office/powerpoint/2010/main" val="82201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C0F048F-58C0-44FC-A642-EACEEB7D0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650" y="372849"/>
            <a:ext cx="10335056" cy="625231"/>
          </a:xfrm>
        </p:spPr>
        <p:txBody>
          <a:bodyPr vert="horz"/>
          <a:lstStyle>
            <a:lvl1pPr>
              <a:defRPr sz="3400">
                <a:solidFill>
                  <a:schemeClr val="tx1"/>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1" name="Picture 10" descr="A black text on a white background&#10;&#10;AI-generated content may be incorrect.">
            <a:extLst>
              <a:ext uri="{FF2B5EF4-FFF2-40B4-BE49-F238E27FC236}">
                <a16:creationId xmlns:a16="http://schemas.microsoft.com/office/drawing/2014/main" id="{BEE79C89-9A51-457C-B2D6-C6B9CE657322}"/>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3BCA00-9D38-471C-BD5E-E5ED4A8008FD}"/>
              </a:ext>
            </a:extLst>
          </p:cNvPr>
          <p:cNvGraphicFramePr>
            <a:graphicFrameLocks noChangeAspect="1"/>
          </p:cNvGraphicFramePr>
          <p:nvPr userDrawn="1">
            <p:custDataLst>
              <p:tags r:id="rId1"/>
            </p:custDataLst>
            <p:extLst>
              <p:ext uri="{D42A27DB-BD31-4B8C-83A1-F6EECF244321}">
                <p14:modId xmlns:p14="http://schemas.microsoft.com/office/powerpoint/2010/main" val="63765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03BCA00-9D38-471C-BD5E-E5ED4A8008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628650" y="372848"/>
            <a:ext cx="10335056" cy="625231"/>
          </a:xfr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39" name="Picture 38" descr="A black text on a white background&#10;&#10;AI-generated content may be incorrect.">
            <a:extLst>
              <a:ext uri="{FF2B5EF4-FFF2-40B4-BE49-F238E27FC236}">
                <a16:creationId xmlns:a16="http://schemas.microsoft.com/office/drawing/2014/main" id="{D2828A3E-0292-4A5C-88BB-B4DB95FE2409}"/>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3BCA00-9D38-471C-BD5E-E5ED4A8008FD}"/>
              </a:ext>
            </a:extLst>
          </p:cNvPr>
          <p:cNvGraphicFramePr>
            <a:graphicFrameLocks noChangeAspect="1"/>
          </p:cNvGraphicFramePr>
          <p:nvPr userDrawn="1">
            <p:custDataLst>
              <p:tags r:id="rId1"/>
            </p:custDataLst>
            <p:extLst>
              <p:ext uri="{D42A27DB-BD31-4B8C-83A1-F6EECF244321}">
                <p14:modId xmlns:p14="http://schemas.microsoft.com/office/powerpoint/2010/main" val="63765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03BCA00-9D38-471C-BD5E-E5ED4A8008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628650" y="372848"/>
            <a:ext cx="10335056" cy="625231"/>
          </a:xfr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39" name="Picture 38" descr="A black text on a white background&#10;&#10;AI-generated content may be incorrect.">
            <a:extLst>
              <a:ext uri="{FF2B5EF4-FFF2-40B4-BE49-F238E27FC236}">
                <a16:creationId xmlns:a16="http://schemas.microsoft.com/office/drawing/2014/main" id="{D2828A3E-0292-4A5C-88BB-B4DB95FE2409}"/>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073601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0525C8-4D3B-4077-80C3-7F0B0E5C61B2}"/>
              </a:ext>
            </a:extLst>
          </p:cNvPr>
          <p:cNvGraphicFramePr>
            <a:graphicFrameLocks noChangeAspect="1"/>
          </p:cNvGraphicFramePr>
          <p:nvPr userDrawn="1">
            <p:custDataLst>
              <p:tags r:id="rId1"/>
            </p:custDataLst>
            <p:extLst>
              <p:ext uri="{D42A27DB-BD31-4B8C-83A1-F6EECF244321}">
                <p14:modId xmlns:p14="http://schemas.microsoft.com/office/powerpoint/2010/main" val="203076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160525C8-4D3B-4077-80C3-7F0B0E5C6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chemeClr val="tx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7" name="Picture 6" descr="A black text on a white background&#10;&#10;AI-generated content may be incorrect.">
            <a:extLst>
              <a:ext uri="{FF2B5EF4-FFF2-40B4-BE49-F238E27FC236}">
                <a16:creationId xmlns:a16="http://schemas.microsoft.com/office/drawing/2014/main" id="{CB9ABFC1-BAA9-4FE3-889A-4687C4F02E35}"/>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2091141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7FEB3D-2706-492A-B363-66108C6E9042}"/>
              </a:ext>
            </a:extLst>
          </p:cNvPr>
          <p:cNvGraphicFramePr>
            <a:graphicFrameLocks noChangeAspect="1"/>
          </p:cNvGraphicFramePr>
          <p:nvPr userDrawn="1">
            <p:custDataLst>
              <p:tags r:id="rId1"/>
            </p:custDataLst>
            <p:extLst>
              <p:ext uri="{D42A27DB-BD31-4B8C-83A1-F6EECF244321}">
                <p14:modId xmlns:p14="http://schemas.microsoft.com/office/powerpoint/2010/main" val="352460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47FEB3D-2706-492A-B363-66108C6E9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2000" i="1">
                <a:solidFill>
                  <a:schemeClr val="tx1">
                    <a:lumMod val="65000"/>
                    <a:lumOff val="35000"/>
                  </a:schemeClr>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34816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542ABF-92BA-43FD-9204-8237A97938AD}"/>
              </a:ext>
            </a:extLst>
          </p:cNvPr>
          <p:cNvGraphicFramePr>
            <a:graphicFrameLocks noChangeAspect="1"/>
          </p:cNvGraphicFramePr>
          <p:nvPr userDrawn="1">
            <p:custDataLst>
              <p:tags r:id="rId1"/>
            </p:custDataLst>
            <p:extLst>
              <p:ext uri="{D42A27DB-BD31-4B8C-83A1-F6EECF244321}">
                <p14:modId xmlns:p14="http://schemas.microsoft.com/office/powerpoint/2010/main" val="409599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6542ABF-92BA-43FD-9204-8237A97938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4079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823440-8CDE-4B50-801C-9A2C6AAD8CEC}"/>
              </a:ext>
            </a:extLst>
          </p:cNvPr>
          <p:cNvGraphicFramePr>
            <a:graphicFrameLocks noChangeAspect="1"/>
          </p:cNvGraphicFramePr>
          <p:nvPr userDrawn="1">
            <p:custDataLst>
              <p:tags r:id="rId1"/>
            </p:custDataLst>
            <p:extLst>
              <p:ext uri="{D42A27DB-BD31-4B8C-83A1-F6EECF244321}">
                <p14:modId xmlns:p14="http://schemas.microsoft.com/office/powerpoint/2010/main" val="1524752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92823440-8CDE-4B50-801C-9A2C6AAD8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256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F78F59-15F9-4EE7-A75B-20DB2C0F24B9}"/>
              </a:ext>
            </a:extLst>
          </p:cNvPr>
          <p:cNvGraphicFramePr>
            <a:graphicFrameLocks noChangeAspect="1"/>
          </p:cNvGraphicFramePr>
          <p:nvPr userDrawn="1">
            <p:custDataLst>
              <p:tags r:id="rId1"/>
            </p:custDataLst>
            <p:extLst>
              <p:ext uri="{D42A27DB-BD31-4B8C-83A1-F6EECF244321}">
                <p14:modId xmlns:p14="http://schemas.microsoft.com/office/powerpoint/2010/main" val="364092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F78F59-15F9-4EE7-A75B-20DB2C0F2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1" name="TextBox 10">
            <a:extLst>
              <a:ext uri="{FF2B5EF4-FFF2-40B4-BE49-F238E27FC236}">
                <a16:creationId xmlns:a16="http://schemas.microsoft.com/office/drawing/2014/main" id="{859EAAFC-E378-4C33-8963-360B490FB1F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8007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B4FA3E-A483-4578-AE02-4BB81C8F2BAF}"/>
              </a:ext>
            </a:extLst>
          </p:cNvPr>
          <p:cNvGraphicFramePr>
            <a:graphicFrameLocks noChangeAspect="1"/>
          </p:cNvGraphicFramePr>
          <p:nvPr userDrawn="1">
            <p:custDataLst>
              <p:tags r:id="rId1"/>
            </p:custDataLst>
            <p:extLst>
              <p:ext uri="{D42A27DB-BD31-4B8C-83A1-F6EECF244321}">
                <p14:modId xmlns:p14="http://schemas.microsoft.com/office/powerpoint/2010/main" val="175665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AB4FA3E-A483-4578-AE02-4BB81C8F2B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76529"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6" name="TextBox 15">
            <a:extLst>
              <a:ext uri="{FF2B5EF4-FFF2-40B4-BE49-F238E27FC236}">
                <a16:creationId xmlns:a16="http://schemas.microsoft.com/office/drawing/2014/main" id="{9DC5AD3D-89A0-44D5-B909-0C4ED7E24F3F}"/>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993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307674-7FC7-492D-BF10-45B390CCA08A}"/>
              </a:ext>
            </a:extLst>
          </p:cNvPr>
          <p:cNvGraphicFramePr>
            <a:graphicFrameLocks noChangeAspect="1"/>
          </p:cNvGraphicFramePr>
          <p:nvPr userDrawn="1">
            <p:custDataLst>
              <p:tags r:id="rId1"/>
            </p:custDataLst>
            <p:extLst>
              <p:ext uri="{D42A27DB-BD31-4B8C-83A1-F6EECF244321}">
                <p14:modId xmlns:p14="http://schemas.microsoft.com/office/powerpoint/2010/main" val="254507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B307674-7FC7-492D-BF10-45B390CCA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8101584"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8" name="TextBox 17">
            <a:extLst>
              <a:ext uri="{FF2B5EF4-FFF2-40B4-BE49-F238E27FC236}">
                <a16:creationId xmlns:a16="http://schemas.microsoft.com/office/drawing/2014/main" id="{BE5EA5B9-8872-4B71-94DE-E536D1F835F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94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6DA7AF-E1F2-4781-8D23-45BD18CA1D80}"/>
              </a:ext>
            </a:extLst>
          </p:cNvPr>
          <p:cNvGraphicFramePr>
            <a:graphicFrameLocks noChangeAspect="1"/>
          </p:cNvGraphicFramePr>
          <p:nvPr userDrawn="1">
            <p:custDataLst>
              <p:tags r:id="rId1"/>
            </p:custDataLst>
            <p:extLst>
              <p:ext uri="{D42A27DB-BD31-4B8C-83A1-F6EECF244321}">
                <p14:modId xmlns:p14="http://schemas.microsoft.com/office/powerpoint/2010/main" val="228500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276DA7AF-E1F2-4781-8D23-45BD18CA1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5F030C01-6099-41D5-85E2-38138CEAC18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263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88EB78C-A0BA-46BE-9E8D-0003A01EF722}"/>
              </a:ext>
            </a:extLst>
          </p:cNvPr>
          <p:cNvGraphicFramePr>
            <a:graphicFrameLocks noChangeAspect="1"/>
          </p:cNvGraphicFramePr>
          <p:nvPr userDrawn="1">
            <p:custDataLst>
              <p:tags r:id="rId1"/>
            </p:custDataLst>
            <p:extLst>
              <p:ext uri="{D42A27DB-BD31-4B8C-83A1-F6EECF244321}">
                <p14:modId xmlns:p14="http://schemas.microsoft.com/office/powerpoint/2010/main" val="327823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88EB78C-A0BA-46BE-9E8D-0003A01EF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6FEF5BA-05CA-46B1-B128-2F0A00C4EEC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79395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0525C8-4D3B-4077-80C3-7F0B0E5C61B2}"/>
              </a:ext>
            </a:extLst>
          </p:cNvPr>
          <p:cNvGraphicFramePr>
            <a:graphicFrameLocks noChangeAspect="1"/>
          </p:cNvGraphicFramePr>
          <p:nvPr userDrawn="1">
            <p:custDataLst>
              <p:tags r:id="rId1"/>
            </p:custDataLst>
            <p:extLst>
              <p:ext uri="{D42A27DB-BD31-4B8C-83A1-F6EECF244321}">
                <p14:modId xmlns:p14="http://schemas.microsoft.com/office/powerpoint/2010/main" val="203076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160525C8-4D3B-4077-80C3-7F0B0E5C61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chemeClr val="tx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7" name="Picture 6" descr="A black text on a white background&#10;&#10;AI-generated content may be incorrect.">
            <a:extLst>
              <a:ext uri="{FF2B5EF4-FFF2-40B4-BE49-F238E27FC236}">
                <a16:creationId xmlns:a16="http://schemas.microsoft.com/office/drawing/2014/main" id="{CB9ABFC1-BAA9-4FE3-889A-4687C4F02E35}"/>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43881" y="0"/>
            <a:ext cx="2239651" cy="746550"/>
          </a:xfrm>
          <a:prstGeom prst="rect">
            <a:avLst/>
          </a:prstGeom>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6B487E-90A5-4CED-A952-C03E1AFC6AD1}"/>
              </a:ext>
            </a:extLst>
          </p:cNvPr>
          <p:cNvGraphicFramePr>
            <a:graphicFrameLocks noChangeAspect="1"/>
          </p:cNvGraphicFramePr>
          <p:nvPr userDrawn="1">
            <p:custDataLst>
              <p:tags r:id="rId1"/>
            </p:custDataLst>
            <p:extLst>
              <p:ext uri="{D42A27DB-BD31-4B8C-83A1-F6EECF244321}">
                <p14:modId xmlns:p14="http://schemas.microsoft.com/office/powerpoint/2010/main" val="172990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E6B487E-90A5-4CED-A952-C03E1AFC6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a:extLst>
              <a:ext uri="{FF2B5EF4-FFF2-40B4-BE49-F238E27FC236}">
                <a16:creationId xmlns:a16="http://schemas.microsoft.com/office/drawing/2014/main" id="{7AAB2828-E04E-42B8-A48C-A1685C8BE1F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161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3577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B5B661D5-1CA2-403C-9960-06DF30B0AD62}"/>
              </a:ext>
            </a:extLst>
          </p:cNvPr>
          <p:cNvSpPr>
            <a:spLocks noGrp="1"/>
          </p:cNvSpPr>
          <p:nvPr>
            <p:ph type="title" hasCustomPrompt="1"/>
          </p:nvPr>
        </p:nvSpPr>
        <p:spPr>
          <a:xfrm>
            <a:off x="630000" y="2764203"/>
            <a:ext cx="2478638" cy="1314310"/>
          </a:xfrm>
        </p:spPr>
        <p:txBody>
          <a:bodyPr vert="horz" anchor="ctr"/>
          <a:lstStyle>
            <a:lvl1pPr>
              <a:defRPr>
                <a:latin typeface="+mj-lt"/>
                <a:ea typeface="+mj-ea"/>
                <a:cs typeface="+mj-cs"/>
              </a:defRPr>
            </a:lvl1pPr>
          </a:lstStyle>
          <a:p>
            <a:r>
              <a:rPr lang="en-US"/>
              <a:t>Click to add title</a:t>
            </a:r>
          </a:p>
        </p:txBody>
      </p:sp>
      <p:sp>
        <p:nvSpPr>
          <p:cNvPr id="21" name="TextBox 20">
            <a:extLst>
              <a:ext uri="{FF2B5EF4-FFF2-40B4-BE49-F238E27FC236}">
                <a16:creationId xmlns:a16="http://schemas.microsoft.com/office/drawing/2014/main" id="{1081A262-848E-49D9-AB38-7241C9B0EE0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9752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BF11C7-B01B-439C-8DDE-03DC3761284E}"/>
              </a:ext>
            </a:extLst>
          </p:cNvPr>
          <p:cNvGraphicFramePr>
            <a:graphicFrameLocks noChangeAspect="1"/>
          </p:cNvGraphicFramePr>
          <p:nvPr userDrawn="1">
            <p:custDataLst>
              <p:tags r:id="rId1"/>
            </p:custDataLst>
            <p:extLst>
              <p:ext uri="{D42A27DB-BD31-4B8C-83A1-F6EECF244321}">
                <p14:modId xmlns:p14="http://schemas.microsoft.com/office/powerpoint/2010/main" val="137575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DBF11C7-B01B-439C-8DDE-03DC37612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3B640D2-6EBE-4730-B4DE-B45101B5B85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67014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F718E6-C444-4317-BA7C-7096446C30C7}"/>
              </a:ext>
            </a:extLst>
          </p:cNvPr>
          <p:cNvGraphicFramePr>
            <a:graphicFrameLocks noChangeAspect="1"/>
          </p:cNvGraphicFramePr>
          <p:nvPr userDrawn="1">
            <p:custDataLst>
              <p:tags r:id="rId1"/>
            </p:custDataLst>
            <p:extLst>
              <p:ext uri="{D42A27DB-BD31-4B8C-83A1-F6EECF244321}">
                <p14:modId xmlns:p14="http://schemas.microsoft.com/office/powerpoint/2010/main" val="165781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CF718E6-C444-4317-BA7C-7096446C3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F32AF30-4EF5-43AE-B47A-FB1E1ABE26C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930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FE7763-B306-42E5-954D-4408CCA31A69}"/>
              </a:ext>
            </a:extLst>
          </p:cNvPr>
          <p:cNvGraphicFramePr>
            <a:graphicFrameLocks noChangeAspect="1"/>
          </p:cNvGraphicFramePr>
          <p:nvPr userDrawn="1">
            <p:custDataLst>
              <p:tags r:id="rId1"/>
            </p:custDataLst>
            <p:extLst>
              <p:ext uri="{D42A27DB-BD31-4B8C-83A1-F6EECF244321}">
                <p14:modId xmlns:p14="http://schemas.microsoft.com/office/powerpoint/2010/main" val="10236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AFE7763-B306-42E5-954D-4408CCA31A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a:extLst>
              <a:ext uri="{FF2B5EF4-FFF2-40B4-BE49-F238E27FC236}">
                <a16:creationId xmlns:a16="http://schemas.microsoft.com/office/drawing/2014/main" id="{647E0DF9-2371-401A-992B-9DD4F3DC299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180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7B52C8-147A-4093-9DD2-BA2D5AF6385B}"/>
              </a:ext>
            </a:extLst>
          </p:cNvPr>
          <p:cNvGraphicFramePr>
            <a:graphicFrameLocks noChangeAspect="1"/>
          </p:cNvGraphicFramePr>
          <p:nvPr userDrawn="1">
            <p:custDataLst>
              <p:tags r:id="rId1"/>
            </p:custDataLst>
            <p:extLst>
              <p:ext uri="{D42A27DB-BD31-4B8C-83A1-F6EECF244321}">
                <p14:modId xmlns:p14="http://schemas.microsoft.com/office/powerpoint/2010/main" val="3373744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AC7B52C8-147A-4093-9DD2-BA2D5AF638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B09B4D3-64B0-43C7-8DB7-147B54E8B6D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9660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7D801-0E9C-4259-B5D7-821BE616A523}"/>
              </a:ext>
            </a:extLst>
          </p:cNvPr>
          <p:cNvGraphicFramePr>
            <a:graphicFrameLocks noChangeAspect="1"/>
          </p:cNvGraphicFramePr>
          <p:nvPr userDrawn="1">
            <p:custDataLst>
              <p:tags r:id="rId1"/>
            </p:custDataLst>
            <p:extLst>
              <p:ext uri="{D42A27DB-BD31-4B8C-83A1-F6EECF244321}">
                <p14:modId xmlns:p14="http://schemas.microsoft.com/office/powerpoint/2010/main" val="1958181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07D801-0E9C-4259-B5D7-821BE616A5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9" name="TextBox 18">
            <a:extLst>
              <a:ext uri="{FF2B5EF4-FFF2-40B4-BE49-F238E27FC236}">
                <a16:creationId xmlns:a16="http://schemas.microsoft.com/office/drawing/2014/main" id="{5FF9C0D8-DFA3-4D79-B61B-7519A3D57AE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31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EE48AF-4E45-4D2C-9389-4F2DA6C34906}"/>
              </a:ext>
            </a:extLst>
          </p:cNvPr>
          <p:cNvGraphicFramePr>
            <a:graphicFrameLocks noChangeAspect="1"/>
          </p:cNvGraphicFramePr>
          <p:nvPr userDrawn="1">
            <p:custDataLst>
              <p:tags r:id="rId1"/>
            </p:custDataLst>
            <p:extLst>
              <p:ext uri="{D42A27DB-BD31-4B8C-83A1-F6EECF244321}">
                <p14:modId xmlns:p14="http://schemas.microsoft.com/office/powerpoint/2010/main" val="31471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0EE48AF-4E45-4D2C-9389-4F2DA6C34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F1664F96-6D3E-49BF-BB7E-86C120F33E41}"/>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6110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0B4353-598A-4D61-931B-E89C0F3B2A50}"/>
              </a:ext>
            </a:extLst>
          </p:cNvPr>
          <p:cNvGraphicFramePr>
            <a:graphicFrameLocks noChangeAspect="1"/>
          </p:cNvGraphicFramePr>
          <p:nvPr userDrawn="1">
            <p:custDataLst>
              <p:tags r:id="rId1"/>
            </p:custDataLst>
            <p:extLst>
              <p:ext uri="{D42A27DB-BD31-4B8C-83A1-F6EECF244321}">
                <p14:modId xmlns:p14="http://schemas.microsoft.com/office/powerpoint/2010/main" val="8843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00B4353-598A-4D61-931B-E89C0F3B2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a:extLst>
              <a:ext uri="{FF2B5EF4-FFF2-40B4-BE49-F238E27FC236}">
                <a16:creationId xmlns:a16="http://schemas.microsoft.com/office/drawing/2014/main" id="{FB83CF87-7CFD-408A-AA9B-9669EE068C6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174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C41711-0345-4978-8005-FE3141EA89D1}"/>
              </a:ext>
            </a:extLst>
          </p:cNvPr>
          <p:cNvGraphicFramePr>
            <a:graphicFrameLocks noChangeAspect="1"/>
          </p:cNvGraphicFramePr>
          <p:nvPr userDrawn="1">
            <p:custDataLst>
              <p:tags r:id="rId1"/>
            </p:custDataLst>
            <p:extLst>
              <p:ext uri="{D42A27DB-BD31-4B8C-83A1-F6EECF244321}">
                <p14:modId xmlns:p14="http://schemas.microsoft.com/office/powerpoint/2010/main" val="136772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9C41711-0345-4978-8005-FE3141EA89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a:extLst>
              <a:ext uri="{FF2B5EF4-FFF2-40B4-BE49-F238E27FC236}">
                <a16:creationId xmlns:a16="http://schemas.microsoft.com/office/drawing/2014/main" id="{37C8CCFA-C4D6-456F-8711-2AA52FD394B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8884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7FEB3D-2706-492A-B363-66108C6E9042}"/>
              </a:ext>
            </a:extLst>
          </p:cNvPr>
          <p:cNvGraphicFramePr>
            <a:graphicFrameLocks noChangeAspect="1"/>
          </p:cNvGraphicFramePr>
          <p:nvPr userDrawn="1">
            <p:custDataLst>
              <p:tags r:id="rId1"/>
            </p:custDataLst>
            <p:extLst>
              <p:ext uri="{D42A27DB-BD31-4B8C-83A1-F6EECF244321}">
                <p14:modId xmlns:p14="http://schemas.microsoft.com/office/powerpoint/2010/main" val="352460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47FEB3D-2706-492A-B363-66108C6E9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2000" i="1">
                <a:solidFill>
                  <a:schemeClr val="tx1">
                    <a:lumMod val="65000"/>
                    <a:lumOff val="35000"/>
                  </a:schemeClr>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0D5FD2A-5296-4736-BE20-1162BBBEED5F}"/>
              </a:ext>
            </a:extLst>
          </p:cNvPr>
          <p:cNvGraphicFramePr>
            <a:graphicFrameLocks noChangeAspect="1"/>
          </p:cNvGraphicFramePr>
          <p:nvPr userDrawn="1">
            <p:custDataLst>
              <p:tags r:id="rId1"/>
            </p:custDataLst>
            <p:extLst>
              <p:ext uri="{D42A27DB-BD31-4B8C-83A1-F6EECF244321}">
                <p14:modId xmlns:p14="http://schemas.microsoft.com/office/powerpoint/2010/main" val="27046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0D5FD2A-5296-4736-BE20-1162BBBEE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36653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B2D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2913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F00CAA1D-7044-4801-B675-ECF1B37A9A5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86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2909445-02B6-4E56-A7B0-1BB27B4260FC}"/>
              </a:ext>
            </a:extLst>
          </p:cNvPr>
          <p:cNvGraphicFramePr>
            <a:graphicFrameLocks noChangeAspect="1"/>
          </p:cNvGraphicFramePr>
          <p:nvPr userDrawn="1">
            <p:custDataLst>
              <p:tags r:id="rId1"/>
            </p:custDataLst>
            <p:extLst>
              <p:ext uri="{D42A27DB-BD31-4B8C-83A1-F6EECF244321}">
                <p14:modId xmlns:p14="http://schemas.microsoft.com/office/powerpoint/2010/main" val="16922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22909445-02B6-4E56-A7B0-1BB27B4260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28650" y="372848"/>
            <a:ext cx="10335056" cy="625231"/>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2A18BD58-C52E-4A6F-AED1-72D7377E5F5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888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F4833E-00C3-43F2-8B8D-49D0EAF4A684}"/>
              </a:ext>
            </a:extLst>
          </p:cNvPr>
          <p:cNvGraphicFramePr>
            <a:graphicFrameLocks noChangeAspect="1"/>
          </p:cNvGraphicFramePr>
          <p:nvPr userDrawn="1">
            <p:custDataLst>
              <p:tags r:id="rId1"/>
            </p:custDataLst>
            <p:extLst>
              <p:ext uri="{D42A27DB-BD31-4B8C-83A1-F6EECF244321}">
                <p14:modId xmlns:p14="http://schemas.microsoft.com/office/powerpoint/2010/main" val="104744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9F4833E-00C3-43F2-8B8D-49D0EAF4A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121B7A6-36B9-436A-8DB6-0A11B14934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756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8181B7-812F-457B-8454-3B7F6C3D0F32}"/>
              </a:ext>
            </a:extLst>
          </p:cNvPr>
          <p:cNvGraphicFramePr>
            <a:graphicFrameLocks noChangeAspect="1"/>
          </p:cNvGraphicFramePr>
          <p:nvPr userDrawn="1">
            <p:custDataLst>
              <p:tags r:id="rId1"/>
            </p:custDataLst>
            <p:extLst>
              <p:ext uri="{D42A27DB-BD31-4B8C-83A1-F6EECF244321}">
                <p14:modId xmlns:p14="http://schemas.microsoft.com/office/powerpoint/2010/main" val="190115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78181B7-812F-457B-8454-3B7F6C3D0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7" name="TextBox 6">
            <a:extLst>
              <a:ext uri="{FF2B5EF4-FFF2-40B4-BE49-F238E27FC236}">
                <a16:creationId xmlns:a16="http://schemas.microsoft.com/office/drawing/2014/main" id="{5C7FF615-60FC-406E-B441-155CE0F7CC6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3595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D2F9C8-46F6-4E40-B4BD-43B696C1880B}"/>
              </a:ext>
            </a:extLst>
          </p:cNvPr>
          <p:cNvGraphicFramePr>
            <a:graphicFrameLocks noChangeAspect="1"/>
          </p:cNvGraphicFramePr>
          <p:nvPr userDrawn="1">
            <p:custDataLst>
              <p:tags r:id="rId1"/>
            </p:custDataLst>
            <p:extLst>
              <p:ext uri="{D42A27DB-BD31-4B8C-83A1-F6EECF244321}">
                <p14:modId xmlns:p14="http://schemas.microsoft.com/office/powerpoint/2010/main" val="41342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4D2F9C8-46F6-4E40-B4BD-43B696C18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7032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EC8A0A-E271-452D-94C4-3FBCECE48FA8}"/>
              </a:ext>
            </a:extLst>
          </p:cNvPr>
          <p:cNvGraphicFramePr>
            <a:graphicFrameLocks noChangeAspect="1"/>
          </p:cNvGraphicFramePr>
          <p:nvPr userDrawn="1">
            <p:custDataLst>
              <p:tags r:id="rId1"/>
            </p:custDataLst>
            <p:extLst>
              <p:ext uri="{D42A27DB-BD31-4B8C-83A1-F6EECF244321}">
                <p14:modId xmlns:p14="http://schemas.microsoft.com/office/powerpoint/2010/main" val="99045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09EC8A0A-E271-452D-94C4-3FBCECE48F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A8100BA-388E-4819-8FC6-BBC1FF672D46}"/>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4" y="2970799"/>
            <a:ext cx="3458169"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5352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04803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Google Shape;54;p13" title="CES_logo_black_text.png">
            <a:extLst>
              <a:ext uri="{FF2B5EF4-FFF2-40B4-BE49-F238E27FC236}">
                <a16:creationId xmlns:a16="http://schemas.microsoft.com/office/drawing/2014/main" id="{D4ED96F7-A07A-4A40-8A15-1D8A4C8DE354}"/>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89F56929-7BBC-4FFD-AF11-E61E1D0D44E0}"/>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65A3D253-CD74-4ABF-898F-331CC6FCBFEA}"/>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C7E94764-E3FB-49C0-BD6E-7130E82BD9B6}"/>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793663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61D152-5A2E-40DB-8F0A-5CD5AF819F9C}"/>
              </a:ext>
            </a:extLst>
          </p:cNvPr>
          <p:cNvGraphicFramePr>
            <a:graphicFrameLocks noChangeAspect="1"/>
          </p:cNvGraphicFramePr>
          <p:nvPr userDrawn="1">
            <p:custDataLst>
              <p:tags r:id="rId1"/>
            </p:custDataLst>
            <p:extLst>
              <p:ext uri="{D42A27DB-BD31-4B8C-83A1-F6EECF244321}">
                <p14:modId xmlns:p14="http://schemas.microsoft.com/office/powerpoint/2010/main" val="208551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F61D152-5A2E-40DB-8F0A-5CD5AF819F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2" name="Date Placeholder 1"/>
          <p:cNvSpPr>
            <a:spLocks noGrp="1"/>
          </p:cNvSpPr>
          <p:nvPr userDrawn="1">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1770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2976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81993" y="1115416"/>
            <a:ext cx="254409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03DD0F26-712B-47AD-9488-F1F26B5092B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9008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542ABF-92BA-43FD-9204-8237A97938AD}"/>
              </a:ext>
            </a:extLst>
          </p:cNvPr>
          <p:cNvGraphicFramePr>
            <a:graphicFrameLocks noChangeAspect="1"/>
          </p:cNvGraphicFramePr>
          <p:nvPr userDrawn="1">
            <p:custDataLst>
              <p:tags r:id="rId1"/>
            </p:custDataLst>
            <p:extLst>
              <p:ext uri="{D42A27DB-BD31-4B8C-83A1-F6EECF244321}">
                <p14:modId xmlns:p14="http://schemas.microsoft.com/office/powerpoint/2010/main" val="409599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6542ABF-92BA-43FD-9204-8237A97938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2519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a:extLst>
              <a:ext uri="{FF2B5EF4-FFF2-40B4-BE49-F238E27FC236}">
                <a16:creationId xmlns:a16="http://schemas.microsoft.com/office/drawing/2014/main" id="{DEC1BF3D-ACBB-4C19-B0DD-F8A04E46478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71361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0046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29995F2-0E19-499D-9B52-23923E3CC38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09041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3448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BD2BD2C2-B3E5-4CD4-9C05-AD009F3501A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2675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4103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81993" y="1115416"/>
            <a:ext cx="254409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99012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5593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938658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26089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13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3965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8F109434-459B-4DDC-ABEE-06D1D92CE8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4385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9285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3D66FA5-7B36-4E4B-BF76-6798A93CEFE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8306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30/26</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539334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823440-8CDE-4B50-801C-9A2C6AAD8CEC}"/>
              </a:ext>
            </a:extLst>
          </p:cNvPr>
          <p:cNvGraphicFramePr>
            <a:graphicFrameLocks noChangeAspect="1"/>
          </p:cNvGraphicFramePr>
          <p:nvPr userDrawn="1">
            <p:custDataLst>
              <p:tags r:id="rId1"/>
            </p:custDataLst>
            <p:extLst>
              <p:ext uri="{D42A27DB-BD31-4B8C-83A1-F6EECF244321}">
                <p14:modId xmlns:p14="http://schemas.microsoft.com/office/powerpoint/2010/main" val="1524752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92823440-8CDE-4B50-801C-9A2C6AAD8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F78F59-15F9-4EE7-A75B-20DB2C0F24B9}"/>
              </a:ext>
            </a:extLst>
          </p:cNvPr>
          <p:cNvGraphicFramePr>
            <a:graphicFrameLocks noChangeAspect="1"/>
          </p:cNvGraphicFramePr>
          <p:nvPr userDrawn="1">
            <p:custDataLst>
              <p:tags r:id="rId1"/>
            </p:custDataLst>
            <p:extLst>
              <p:ext uri="{D42A27DB-BD31-4B8C-83A1-F6EECF244321}">
                <p14:modId xmlns:p14="http://schemas.microsoft.com/office/powerpoint/2010/main" val="364092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EF78F59-15F9-4EE7-A75B-20DB2C0F2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1" name="TextBox 10">
            <a:extLst>
              <a:ext uri="{FF2B5EF4-FFF2-40B4-BE49-F238E27FC236}">
                <a16:creationId xmlns:a16="http://schemas.microsoft.com/office/drawing/2014/main" id="{859EAAFC-E378-4C33-8963-360B490FB1F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B4FA3E-A483-4578-AE02-4BB81C8F2BAF}"/>
              </a:ext>
            </a:extLst>
          </p:cNvPr>
          <p:cNvGraphicFramePr>
            <a:graphicFrameLocks noChangeAspect="1"/>
          </p:cNvGraphicFramePr>
          <p:nvPr userDrawn="1">
            <p:custDataLst>
              <p:tags r:id="rId1"/>
            </p:custDataLst>
            <p:extLst>
              <p:ext uri="{D42A27DB-BD31-4B8C-83A1-F6EECF244321}">
                <p14:modId xmlns:p14="http://schemas.microsoft.com/office/powerpoint/2010/main" val="175665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AB4FA3E-A483-4578-AE02-4BB81C8F2B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76529"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6" name="TextBox 15">
            <a:extLst>
              <a:ext uri="{FF2B5EF4-FFF2-40B4-BE49-F238E27FC236}">
                <a16:creationId xmlns:a16="http://schemas.microsoft.com/office/drawing/2014/main" id="{9DC5AD3D-89A0-44D5-B909-0C4ED7E24F3F}"/>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307674-7FC7-492D-BF10-45B390CCA08A}"/>
              </a:ext>
            </a:extLst>
          </p:cNvPr>
          <p:cNvGraphicFramePr>
            <a:graphicFrameLocks noChangeAspect="1"/>
          </p:cNvGraphicFramePr>
          <p:nvPr userDrawn="1">
            <p:custDataLst>
              <p:tags r:id="rId1"/>
            </p:custDataLst>
            <p:extLst>
              <p:ext uri="{D42A27DB-BD31-4B8C-83A1-F6EECF244321}">
                <p14:modId xmlns:p14="http://schemas.microsoft.com/office/powerpoint/2010/main" val="254507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DB307674-7FC7-492D-BF10-45B390CCA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8101584"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8" name="TextBox 17">
            <a:extLst>
              <a:ext uri="{FF2B5EF4-FFF2-40B4-BE49-F238E27FC236}">
                <a16:creationId xmlns:a16="http://schemas.microsoft.com/office/drawing/2014/main" id="{BE5EA5B9-8872-4B71-94DE-E536D1F835F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6DA7AF-E1F2-4781-8D23-45BD18CA1D80}"/>
              </a:ext>
            </a:extLst>
          </p:cNvPr>
          <p:cNvGraphicFramePr>
            <a:graphicFrameLocks noChangeAspect="1"/>
          </p:cNvGraphicFramePr>
          <p:nvPr userDrawn="1">
            <p:custDataLst>
              <p:tags r:id="rId1"/>
            </p:custDataLst>
            <p:extLst>
              <p:ext uri="{D42A27DB-BD31-4B8C-83A1-F6EECF244321}">
                <p14:modId xmlns:p14="http://schemas.microsoft.com/office/powerpoint/2010/main" val="228500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276DA7AF-E1F2-4781-8D23-45BD18CA1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5F030C01-6099-41D5-85E2-38138CEAC18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88EB78C-A0BA-46BE-9E8D-0003A01EF722}"/>
              </a:ext>
            </a:extLst>
          </p:cNvPr>
          <p:cNvGraphicFramePr>
            <a:graphicFrameLocks noChangeAspect="1"/>
          </p:cNvGraphicFramePr>
          <p:nvPr userDrawn="1">
            <p:custDataLst>
              <p:tags r:id="rId1"/>
            </p:custDataLst>
            <p:extLst>
              <p:ext uri="{D42A27DB-BD31-4B8C-83A1-F6EECF244321}">
                <p14:modId xmlns:p14="http://schemas.microsoft.com/office/powerpoint/2010/main" val="327823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88EB78C-A0BA-46BE-9E8D-0003A01EF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6FEF5BA-05CA-46B1-B128-2F0A00C4EEC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7709EF-6E54-4E28-8DBA-802869043E78}"/>
              </a:ext>
            </a:extLst>
          </p:cNvPr>
          <p:cNvGraphicFramePr>
            <a:graphicFrameLocks noChangeAspect="1"/>
          </p:cNvGraphicFramePr>
          <p:nvPr userDrawn="1">
            <p:custDataLst>
              <p:tags r:id="rId1"/>
            </p:custDataLst>
            <p:extLst>
              <p:ext uri="{D42A27DB-BD31-4B8C-83A1-F6EECF244321}">
                <p14:modId xmlns:p14="http://schemas.microsoft.com/office/powerpoint/2010/main" val="370910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7709EF-6E54-4E28-8DBA-802869043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6B487E-90A5-4CED-A952-C03E1AFC6AD1}"/>
              </a:ext>
            </a:extLst>
          </p:cNvPr>
          <p:cNvGraphicFramePr>
            <a:graphicFrameLocks noChangeAspect="1"/>
          </p:cNvGraphicFramePr>
          <p:nvPr userDrawn="1">
            <p:custDataLst>
              <p:tags r:id="rId1"/>
            </p:custDataLst>
            <p:extLst>
              <p:ext uri="{D42A27DB-BD31-4B8C-83A1-F6EECF244321}">
                <p14:modId xmlns:p14="http://schemas.microsoft.com/office/powerpoint/2010/main" val="172990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E6B487E-90A5-4CED-A952-C03E1AFC6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a:extLst>
              <a:ext uri="{FF2B5EF4-FFF2-40B4-BE49-F238E27FC236}">
                <a16:creationId xmlns:a16="http://schemas.microsoft.com/office/drawing/2014/main" id="{7AAB2828-E04E-42B8-A48C-A1685C8BE1F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3577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B5B661D5-1CA2-403C-9960-06DF30B0AD62}"/>
              </a:ext>
            </a:extLst>
          </p:cNvPr>
          <p:cNvSpPr>
            <a:spLocks noGrp="1"/>
          </p:cNvSpPr>
          <p:nvPr>
            <p:ph type="title" hasCustomPrompt="1"/>
          </p:nvPr>
        </p:nvSpPr>
        <p:spPr>
          <a:xfrm>
            <a:off x="630000" y="2764203"/>
            <a:ext cx="2478638" cy="1314310"/>
          </a:xfrm>
        </p:spPr>
        <p:txBody>
          <a:bodyPr vert="horz" anchor="ctr"/>
          <a:lstStyle>
            <a:lvl1pPr>
              <a:defRPr>
                <a:latin typeface="+mj-lt"/>
                <a:ea typeface="+mj-ea"/>
                <a:cs typeface="+mj-cs"/>
              </a:defRPr>
            </a:lvl1pPr>
          </a:lstStyle>
          <a:p>
            <a:r>
              <a:rPr lang="en-US"/>
              <a:t>Click to add title</a:t>
            </a:r>
          </a:p>
        </p:txBody>
      </p:sp>
      <p:sp>
        <p:nvSpPr>
          <p:cNvPr id="21" name="TextBox 20">
            <a:extLst>
              <a:ext uri="{FF2B5EF4-FFF2-40B4-BE49-F238E27FC236}">
                <a16:creationId xmlns:a16="http://schemas.microsoft.com/office/drawing/2014/main" id="{1081A262-848E-49D9-AB38-7241C9B0EE0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BF11C7-B01B-439C-8DDE-03DC3761284E}"/>
              </a:ext>
            </a:extLst>
          </p:cNvPr>
          <p:cNvGraphicFramePr>
            <a:graphicFrameLocks noChangeAspect="1"/>
          </p:cNvGraphicFramePr>
          <p:nvPr userDrawn="1">
            <p:custDataLst>
              <p:tags r:id="rId1"/>
            </p:custDataLst>
            <p:extLst>
              <p:ext uri="{D42A27DB-BD31-4B8C-83A1-F6EECF244321}">
                <p14:modId xmlns:p14="http://schemas.microsoft.com/office/powerpoint/2010/main" val="137575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DBF11C7-B01B-439C-8DDE-03DC37612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3B640D2-6EBE-4730-B4DE-B45101B5B85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F718E6-C444-4317-BA7C-7096446C30C7}"/>
              </a:ext>
            </a:extLst>
          </p:cNvPr>
          <p:cNvGraphicFramePr>
            <a:graphicFrameLocks noChangeAspect="1"/>
          </p:cNvGraphicFramePr>
          <p:nvPr userDrawn="1">
            <p:custDataLst>
              <p:tags r:id="rId1"/>
            </p:custDataLst>
            <p:extLst>
              <p:ext uri="{D42A27DB-BD31-4B8C-83A1-F6EECF244321}">
                <p14:modId xmlns:p14="http://schemas.microsoft.com/office/powerpoint/2010/main" val="165781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5CF718E6-C444-4317-BA7C-7096446C3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F32AF30-4EF5-43AE-B47A-FB1E1ABE26C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FE7763-B306-42E5-954D-4408CCA31A69}"/>
              </a:ext>
            </a:extLst>
          </p:cNvPr>
          <p:cNvGraphicFramePr>
            <a:graphicFrameLocks noChangeAspect="1"/>
          </p:cNvGraphicFramePr>
          <p:nvPr userDrawn="1">
            <p:custDataLst>
              <p:tags r:id="rId1"/>
            </p:custDataLst>
            <p:extLst>
              <p:ext uri="{D42A27DB-BD31-4B8C-83A1-F6EECF244321}">
                <p14:modId xmlns:p14="http://schemas.microsoft.com/office/powerpoint/2010/main" val="10236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AFE7763-B306-42E5-954D-4408CCA31A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a:extLst>
              <a:ext uri="{FF2B5EF4-FFF2-40B4-BE49-F238E27FC236}">
                <a16:creationId xmlns:a16="http://schemas.microsoft.com/office/drawing/2014/main" id="{647E0DF9-2371-401A-992B-9DD4F3DC299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7B52C8-147A-4093-9DD2-BA2D5AF6385B}"/>
              </a:ext>
            </a:extLst>
          </p:cNvPr>
          <p:cNvGraphicFramePr>
            <a:graphicFrameLocks noChangeAspect="1"/>
          </p:cNvGraphicFramePr>
          <p:nvPr userDrawn="1">
            <p:custDataLst>
              <p:tags r:id="rId1"/>
            </p:custDataLst>
            <p:extLst>
              <p:ext uri="{D42A27DB-BD31-4B8C-83A1-F6EECF244321}">
                <p14:modId xmlns:p14="http://schemas.microsoft.com/office/powerpoint/2010/main" val="3373744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AC7B52C8-147A-4093-9DD2-BA2D5AF638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B09B4D3-64B0-43C7-8DB7-147B54E8B6D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7D801-0E9C-4259-B5D7-821BE616A523}"/>
              </a:ext>
            </a:extLst>
          </p:cNvPr>
          <p:cNvGraphicFramePr>
            <a:graphicFrameLocks noChangeAspect="1"/>
          </p:cNvGraphicFramePr>
          <p:nvPr userDrawn="1">
            <p:custDataLst>
              <p:tags r:id="rId1"/>
            </p:custDataLst>
            <p:extLst>
              <p:ext uri="{D42A27DB-BD31-4B8C-83A1-F6EECF244321}">
                <p14:modId xmlns:p14="http://schemas.microsoft.com/office/powerpoint/2010/main" val="1958181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0907D801-0E9C-4259-B5D7-821BE616A5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45164"/>
              </a:gs>
              <a:gs pos="100000">
                <a:srgbClr val="10415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372848"/>
            <a:ext cx="4747822"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9" name="TextBox 18">
            <a:extLst>
              <a:ext uri="{FF2B5EF4-FFF2-40B4-BE49-F238E27FC236}">
                <a16:creationId xmlns:a16="http://schemas.microsoft.com/office/drawing/2014/main" id="{5FF9C0D8-DFA3-4D79-B61B-7519A3D57AE3}"/>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EE48AF-4E45-4D2C-9389-4F2DA6C34906}"/>
              </a:ext>
            </a:extLst>
          </p:cNvPr>
          <p:cNvGraphicFramePr>
            <a:graphicFrameLocks noChangeAspect="1"/>
          </p:cNvGraphicFramePr>
          <p:nvPr userDrawn="1">
            <p:custDataLst>
              <p:tags r:id="rId1"/>
            </p:custDataLst>
            <p:extLst>
              <p:ext uri="{D42A27DB-BD31-4B8C-83A1-F6EECF244321}">
                <p14:modId xmlns:p14="http://schemas.microsoft.com/office/powerpoint/2010/main" val="31471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60EE48AF-4E45-4D2C-9389-4F2DA6C34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F1664F96-6D3E-49BF-BB7E-86C120F33E41}"/>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0B4353-598A-4D61-931B-E89C0F3B2A50}"/>
              </a:ext>
            </a:extLst>
          </p:cNvPr>
          <p:cNvGraphicFramePr>
            <a:graphicFrameLocks noChangeAspect="1"/>
          </p:cNvGraphicFramePr>
          <p:nvPr userDrawn="1">
            <p:custDataLst>
              <p:tags r:id="rId1"/>
            </p:custDataLst>
            <p:extLst>
              <p:ext uri="{D42A27DB-BD31-4B8C-83A1-F6EECF244321}">
                <p14:modId xmlns:p14="http://schemas.microsoft.com/office/powerpoint/2010/main" val="8843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4" name="think-cell data - do not delete" hidden="1">
                        <a:extLst>
                          <a:ext uri="{FF2B5EF4-FFF2-40B4-BE49-F238E27FC236}">
                            <a16:creationId xmlns:a16="http://schemas.microsoft.com/office/drawing/2014/main" id="{E00B4353-598A-4D61-931B-E89C0F3B2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45164"/>
              </a:gs>
              <a:gs pos="100000">
                <a:srgbClr val="10415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372848"/>
            <a:ext cx="6254496" cy="625231"/>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a:extLst>
              <a:ext uri="{FF2B5EF4-FFF2-40B4-BE49-F238E27FC236}">
                <a16:creationId xmlns:a16="http://schemas.microsoft.com/office/drawing/2014/main" id="{FB83CF87-7CFD-408A-AA9B-9669EE068C6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C41711-0345-4978-8005-FE3141EA89D1}"/>
              </a:ext>
            </a:extLst>
          </p:cNvPr>
          <p:cNvGraphicFramePr>
            <a:graphicFrameLocks noChangeAspect="1"/>
          </p:cNvGraphicFramePr>
          <p:nvPr userDrawn="1">
            <p:custDataLst>
              <p:tags r:id="rId1"/>
            </p:custDataLst>
            <p:extLst>
              <p:ext uri="{D42A27DB-BD31-4B8C-83A1-F6EECF244321}">
                <p14:modId xmlns:p14="http://schemas.microsoft.com/office/powerpoint/2010/main" val="136772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49C41711-0345-4978-8005-FE3141EA89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a:extLst>
              <a:ext uri="{FF2B5EF4-FFF2-40B4-BE49-F238E27FC236}">
                <a16:creationId xmlns:a16="http://schemas.microsoft.com/office/drawing/2014/main" id="{37C8CCFA-C4D6-456F-8711-2AA52FD394B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BE88F2-1C18-4AE5-8B29-1356AE91B935}"/>
              </a:ext>
            </a:extLst>
          </p:cNvPr>
          <p:cNvGraphicFramePr>
            <a:graphicFrameLocks noChangeAspect="1"/>
          </p:cNvGraphicFramePr>
          <p:nvPr userDrawn="1">
            <p:custDataLst>
              <p:tags r:id="rId1"/>
            </p:custDataLst>
            <p:extLst>
              <p:ext uri="{D42A27DB-BD31-4B8C-83A1-F6EECF244321}">
                <p14:modId xmlns:p14="http://schemas.microsoft.com/office/powerpoint/2010/main" val="56107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88BE88F2-1C18-4AE5-8B29-1356AE91B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21D4FDC-931F-4F23-BEAA-ECE2DE1CC108}"/>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0D5FD2A-5296-4736-BE20-1162BBBEED5F}"/>
              </a:ext>
            </a:extLst>
          </p:cNvPr>
          <p:cNvGraphicFramePr>
            <a:graphicFrameLocks noChangeAspect="1"/>
          </p:cNvGraphicFramePr>
          <p:nvPr userDrawn="1">
            <p:custDataLst>
              <p:tags r:id="rId1"/>
            </p:custDataLst>
            <p:extLst>
              <p:ext uri="{D42A27DB-BD31-4B8C-83A1-F6EECF244321}">
                <p14:modId xmlns:p14="http://schemas.microsoft.com/office/powerpoint/2010/main" val="27046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10D5FD2A-5296-4736-BE20-1162BBBEE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B2D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2913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4516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F00CAA1D-7044-4801-B675-ECF1B37A9A5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2">
            <a:lumMod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2909445-02B6-4E56-A7B0-1BB27B4260FC}"/>
              </a:ext>
            </a:extLst>
          </p:cNvPr>
          <p:cNvGraphicFramePr>
            <a:graphicFrameLocks noChangeAspect="1"/>
          </p:cNvGraphicFramePr>
          <p:nvPr userDrawn="1">
            <p:custDataLst>
              <p:tags r:id="rId1"/>
            </p:custDataLst>
            <p:extLst>
              <p:ext uri="{D42A27DB-BD31-4B8C-83A1-F6EECF244321}">
                <p14:modId xmlns:p14="http://schemas.microsoft.com/office/powerpoint/2010/main" val="16922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22909445-02B6-4E56-A7B0-1BB27B4260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28650" y="372848"/>
            <a:ext cx="10335056" cy="625231"/>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2A18BD58-C52E-4A6F-AED1-72D7377E5F59}"/>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F4833E-00C3-43F2-8B8D-49D0EAF4A684}"/>
              </a:ext>
            </a:extLst>
          </p:cNvPr>
          <p:cNvGraphicFramePr>
            <a:graphicFrameLocks noChangeAspect="1"/>
          </p:cNvGraphicFramePr>
          <p:nvPr userDrawn="1">
            <p:custDataLst>
              <p:tags r:id="rId1"/>
            </p:custDataLst>
            <p:extLst>
              <p:ext uri="{D42A27DB-BD31-4B8C-83A1-F6EECF244321}">
                <p14:modId xmlns:p14="http://schemas.microsoft.com/office/powerpoint/2010/main" val="104744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9F4833E-00C3-43F2-8B8D-49D0EAF4A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121B7A6-36B9-436A-8DB6-0A11B149341C}"/>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8181B7-812F-457B-8454-3B7F6C3D0F32}"/>
              </a:ext>
            </a:extLst>
          </p:cNvPr>
          <p:cNvGraphicFramePr>
            <a:graphicFrameLocks noChangeAspect="1"/>
          </p:cNvGraphicFramePr>
          <p:nvPr userDrawn="1">
            <p:custDataLst>
              <p:tags r:id="rId1"/>
            </p:custDataLst>
            <p:extLst>
              <p:ext uri="{D42A27DB-BD31-4B8C-83A1-F6EECF244321}">
                <p14:modId xmlns:p14="http://schemas.microsoft.com/office/powerpoint/2010/main" val="190115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378181B7-812F-457B-8454-3B7F6C3D0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7" name="TextBox 6">
            <a:extLst>
              <a:ext uri="{FF2B5EF4-FFF2-40B4-BE49-F238E27FC236}">
                <a16:creationId xmlns:a16="http://schemas.microsoft.com/office/drawing/2014/main" id="{5C7FF615-60FC-406E-B441-155CE0F7CC6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D2F9C8-46F6-4E40-B4BD-43B696C1880B}"/>
              </a:ext>
            </a:extLst>
          </p:cNvPr>
          <p:cNvGraphicFramePr>
            <a:graphicFrameLocks noChangeAspect="1"/>
          </p:cNvGraphicFramePr>
          <p:nvPr userDrawn="1">
            <p:custDataLst>
              <p:tags r:id="rId1"/>
            </p:custDataLst>
            <p:extLst>
              <p:ext uri="{D42A27DB-BD31-4B8C-83A1-F6EECF244321}">
                <p14:modId xmlns:p14="http://schemas.microsoft.com/office/powerpoint/2010/main" val="41342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B4D2F9C8-46F6-4E40-B4BD-43B696C18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EC8A0A-E271-452D-94C4-3FBCECE48FA8}"/>
              </a:ext>
            </a:extLst>
          </p:cNvPr>
          <p:cNvGraphicFramePr>
            <a:graphicFrameLocks noChangeAspect="1"/>
          </p:cNvGraphicFramePr>
          <p:nvPr userDrawn="1">
            <p:custDataLst>
              <p:tags r:id="rId1"/>
            </p:custDataLst>
            <p:extLst>
              <p:ext uri="{D42A27DB-BD31-4B8C-83A1-F6EECF244321}">
                <p14:modId xmlns:p14="http://schemas.microsoft.com/office/powerpoint/2010/main" val="99045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09EC8A0A-E271-452D-94C4-3FBCECE48F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A8100BA-388E-4819-8FC6-BBC1FF672D46}"/>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4" y="2970799"/>
            <a:ext cx="3458169" cy="71090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chemeClr val="tx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04803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Google Shape;54;p13" title="CES_logo_black_text.png">
            <a:extLst>
              <a:ext uri="{FF2B5EF4-FFF2-40B4-BE49-F238E27FC236}">
                <a16:creationId xmlns:a16="http://schemas.microsoft.com/office/drawing/2014/main" id="{D4ED96F7-A07A-4A40-8A15-1D8A4C8DE354}"/>
              </a:ext>
            </a:extLst>
          </p:cNvPr>
          <p:cNvPicPr preferRelativeResize="0"/>
          <p:nvPr userDrawn="1"/>
        </p:nvPicPr>
        <p:blipFill>
          <a:blip r:embed="rId5">
            <a:alphaModFix/>
          </a:blip>
          <a:stretch>
            <a:fillRect/>
          </a:stretch>
        </p:blipFill>
        <p:spPr>
          <a:xfrm>
            <a:off x="10363017" y="2524200"/>
            <a:ext cx="1566433" cy="1174800"/>
          </a:xfrm>
          <a:prstGeom prst="rect">
            <a:avLst/>
          </a:prstGeom>
          <a:noFill/>
          <a:ln>
            <a:noFill/>
          </a:ln>
        </p:spPr>
      </p:pic>
      <p:sp>
        <p:nvSpPr>
          <p:cNvPr id="11" name="Google Shape;55;p13">
            <a:extLst>
              <a:ext uri="{FF2B5EF4-FFF2-40B4-BE49-F238E27FC236}">
                <a16:creationId xmlns:a16="http://schemas.microsoft.com/office/drawing/2014/main" id="{89F56929-7BBC-4FFD-AF11-E61E1D0D44E0}"/>
              </a:ext>
            </a:extLst>
          </p:cNvPr>
          <p:cNvSpPr/>
          <p:nvPr userDrawn="1"/>
        </p:nvSpPr>
        <p:spPr>
          <a:xfrm>
            <a:off x="10811633" y="0"/>
            <a:ext cx="669200" cy="2355600"/>
          </a:xfrm>
          <a:prstGeom prst="rect">
            <a:avLst/>
          </a:prstGeom>
          <a:solidFill>
            <a:srgbClr val="145164"/>
          </a:solidFill>
          <a:ln>
            <a:noFill/>
          </a:ln>
        </p:spPr>
        <p:txBody>
          <a:bodyPr spcFirstLastPara="1" wrap="square" lIns="121900" tIns="121900" rIns="121900" bIns="121900" anchor="ctr" anchorCtr="0">
            <a:noAutofit/>
          </a:bodyPr>
          <a:lstStyle/>
          <a:p>
            <a:pPr algn="ctr"/>
            <a:endParaRPr sz="2400"/>
          </a:p>
        </p:txBody>
      </p:sp>
      <p:sp>
        <p:nvSpPr>
          <p:cNvPr id="12" name="Google Shape;56;p13">
            <a:extLst>
              <a:ext uri="{FF2B5EF4-FFF2-40B4-BE49-F238E27FC236}">
                <a16:creationId xmlns:a16="http://schemas.microsoft.com/office/drawing/2014/main" id="{65A3D253-CD74-4ABF-898F-331CC6FCBFEA}"/>
              </a:ext>
            </a:extLst>
          </p:cNvPr>
          <p:cNvSpPr/>
          <p:nvPr userDrawn="1"/>
        </p:nvSpPr>
        <p:spPr>
          <a:xfrm>
            <a:off x="0" y="0"/>
            <a:ext cx="598800" cy="6858000"/>
          </a:xfrm>
          <a:prstGeom prst="rect">
            <a:avLst/>
          </a:prstGeom>
          <a:solidFill>
            <a:srgbClr val="CCDE49"/>
          </a:solidFill>
          <a:ln>
            <a:noFill/>
          </a:ln>
        </p:spPr>
        <p:txBody>
          <a:bodyPr spcFirstLastPara="1" wrap="square" lIns="121900" tIns="121900" rIns="121900" bIns="121900" anchor="ctr" anchorCtr="0">
            <a:noAutofit/>
          </a:bodyPr>
          <a:lstStyle/>
          <a:p>
            <a:pPr algn="ctr"/>
            <a:endParaRPr sz="2400"/>
          </a:p>
        </p:txBody>
      </p:sp>
      <p:sp>
        <p:nvSpPr>
          <p:cNvPr id="13" name="Google Shape;57;p13">
            <a:extLst>
              <a:ext uri="{FF2B5EF4-FFF2-40B4-BE49-F238E27FC236}">
                <a16:creationId xmlns:a16="http://schemas.microsoft.com/office/drawing/2014/main" id="{C7E94764-E3FB-49C0-BD6E-7130E82BD9B6}"/>
              </a:ext>
            </a:extLst>
          </p:cNvPr>
          <p:cNvSpPr txBox="1"/>
          <p:nvPr userDrawn="1"/>
        </p:nvSpPr>
        <p:spPr>
          <a:xfrm>
            <a:off x="3460937" y="2998133"/>
            <a:ext cx="4562000" cy="861734"/>
          </a:xfrm>
          <a:prstGeom prst="rect">
            <a:avLst/>
          </a:prstGeom>
          <a:noFill/>
          <a:ln>
            <a:noFill/>
          </a:ln>
        </p:spPr>
        <p:txBody>
          <a:bodyPr spcFirstLastPara="1" wrap="square" lIns="121900" tIns="121900" rIns="121900" bIns="121900" anchor="t" anchorCtr="0">
            <a:spAutoFit/>
          </a:bodyPr>
          <a:lstStyle/>
          <a:p>
            <a:r>
              <a:rPr lang="en-GB" sz="4000" b="1">
                <a:solidFill>
                  <a:schemeClr val="dk1"/>
                </a:solidFill>
                <a:ea typeface="Open Sans"/>
                <a:cs typeface="Open Sans"/>
                <a:sym typeface="Open Sans"/>
              </a:rPr>
              <a:t>Thank you</a:t>
            </a:r>
            <a:endParaRPr sz="4000" b="1">
              <a:solidFill>
                <a:schemeClr val="dk1"/>
              </a:solidFill>
              <a:ea typeface="Open Sans"/>
              <a:cs typeface="Open Sans"/>
              <a:sym typeface="Open Sans"/>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F61D152-5A2E-40DB-8F0A-5CD5AF819F9C}"/>
              </a:ext>
            </a:extLst>
          </p:cNvPr>
          <p:cNvGraphicFramePr>
            <a:graphicFrameLocks noChangeAspect="1"/>
          </p:cNvGraphicFramePr>
          <p:nvPr userDrawn="1">
            <p:custDataLst>
              <p:tags r:id="rId1"/>
            </p:custDataLst>
            <p:extLst>
              <p:ext uri="{D42A27DB-BD31-4B8C-83A1-F6EECF244321}">
                <p14:modId xmlns:p14="http://schemas.microsoft.com/office/powerpoint/2010/main" val="208551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AF61D152-5A2E-40DB-8F0A-5CD5AF819F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2" name="Date Placeholder 1"/>
          <p:cNvSpPr>
            <a:spLocks noGrp="1"/>
          </p:cNvSpPr>
          <p:nvPr userDrawn="1">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2976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81993" y="1115416"/>
            <a:ext cx="254409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03DD0F26-712B-47AD-9488-F1F26B5092BA}"/>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C1ABD6-2000-4130-B009-AE5995B346DF}"/>
              </a:ext>
            </a:extLst>
          </p:cNvPr>
          <p:cNvGraphicFramePr>
            <a:graphicFrameLocks noChangeAspect="1"/>
          </p:cNvGraphicFramePr>
          <p:nvPr userDrawn="1">
            <p:custDataLst>
              <p:tags r:id="rId1"/>
            </p:custDataLst>
            <p:extLst>
              <p:ext uri="{D42A27DB-BD31-4B8C-83A1-F6EECF244321}">
                <p14:modId xmlns:p14="http://schemas.microsoft.com/office/powerpoint/2010/main" val="335249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9C1ABD6-2000-4130-B009-AE5995B346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B756CE9-44F4-4021-B5E6-2C952541FB5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2519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a:extLst>
              <a:ext uri="{FF2B5EF4-FFF2-40B4-BE49-F238E27FC236}">
                <a16:creationId xmlns:a16="http://schemas.microsoft.com/office/drawing/2014/main" id="{DEC1BF3D-ACBB-4C19-B0DD-F8A04E464787}"/>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0046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29995F2-0E19-499D-9B52-23923E3CC38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3448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BD2BD2C2-B3E5-4CD4-9C05-AD009F3501A5}"/>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4103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81993" y="1115416"/>
            <a:ext cx="254409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5593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26089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3965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8F109434-459B-4DDC-ABEE-06D1D92CE8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9285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3D66FA5-7B36-4E4B-BF76-6798A93CEFEE}"/>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30/26</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359329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16272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B3A935-A6B6-42D3-AB54-1463721681C5}"/>
              </a:ext>
            </a:extLst>
          </p:cNvPr>
          <p:cNvGraphicFramePr>
            <a:graphicFrameLocks noChangeAspect="1"/>
          </p:cNvGraphicFramePr>
          <p:nvPr userDrawn="1">
            <p:custDataLst>
              <p:tags r:id="rId1"/>
            </p:custDataLst>
            <p:extLst>
              <p:ext uri="{D42A27DB-BD31-4B8C-83A1-F6EECF244321}">
                <p14:modId xmlns:p14="http://schemas.microsoft.com/office/powerpoint/2010/main" val="359547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BEB3A935-A6B6-42D3-AB54-146372168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E1CCFC44-9268-4C8D-9BC5-49F787446124}"/>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853890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ct val="0"/>
              </a:spcBef>
              <a:spcAft>
                <a:spcPct val="0"/>
              </a:spcAft>
              <a:defRPr sz="2000"/>
            </a:lvl1pPr>
            <a:lvl2pPr>
              <a:lnSpc>
                <a:spcPct val="100000"/>
              </a:lnSpc>
              <a:spcBef>
                <a:spcPct val="0"/>
              </a:spcBef>
              <a:spcAft>
                <a:spcPct val="0"/>
              </a:spcAft>
              <a:defRPr sz="2000"/>
            </a:lvl2pPr>
            <a:lvl3pPr>
              <a:lnSpc>
                <a:spcPct val="100000"/>
              </a:lnSpc>
              <a:spcBef>
                <a:spcPct val="0"/>
              </a:spcBef>
              <a:spcAft>
                <a:spcPct val="0"/>
              </a:spcAft>
              <a:defRPr sz="2000"/>
            </a:lvl3pPr>
            <a:lvl4pPr>
              <a:lnSpc>
                <a:spcPct val="100000"/>
              </a:lnSpc>
              <a:spcBef>
                <a:spcPct val="0"/>
              </a:spcBef>
              <a:spcAft>
                <a:spcPct val="0"/>
              </a:spcAft>
              <a:defRPr sz="2800"/>
            </a:lvl4pPr>
            <a:lvl5pPr>
              <a:lnSpc>
                <a:spcPct val="100000"/>
              </a:lnSpc>
              <a:spcBef>
                <a:spcPct val="0"/>
              </a:spcBef>
              <a:spcAft>
                <a:spcPct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988115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18580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84818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5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31605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87448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9108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82548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5711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65EA47-558A-4F73-B049-0F7BC097BAA2}"/>
              </a:ext>
            </a:extLst>
          </p:cNvPr>
          <p:cNvGraphicFramePr>
            <a:graphicFrameLocks noChangeAspect="1"/>
          </p:cNvGraphicFramePr>
          <p:nvPr userDrawn="1">
            <p:custDataLst>
              <p:tags r:id="rId1"/>
            </p:custDataLst>
            <p:extLst>
              <p:ext uri="{D42A27DB-BD31-4B8C-83A1-F6EECF244321}">
                <p14:modId xmlns:p14="http://schemas.microsoft.com/office/powerpoint/2010/main" val="81762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3865EA47-558A-4F73-B049-0F7BC097B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5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372849"/>
            <a:ext cx="6256800" cy="62523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9CAF7DA5-C103-4A57-8E71-B6068007116B}"/>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970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1"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6426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931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40663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998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9582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386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ct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90559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3244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ct val="0"/>
              </a:spcBef>
              <a:spcAft>
                <a:spcPct val="0"/>
              </a:spcAft>
              <a:defRPr lang="en-US" sz="5400" kern="1200" baseline="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012117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45164"/>
            </a:gs>
            <a:gs pos="100000">
              <a:srgbClr val="104150"/>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A84018-3EA9-4268-8F41-C277173CD962}"/>
              </a:ext>
            </a:extLst>
          </p:cNvPr>
          <p:cNvGraphicFramePr>
            <a:graphicFrameLocks noChangeAspect="1"/>
          </p:cNvGraphicFramePr>
          <p:nvPr userDrawn="1">
            <p:custDataLst>
              <p:tags r:id="rId1"/>
            </p:custDataLst>
            <p:extLst>
              <p:ext uri="{D42A27DB-BD31-4B8C-83A1-F6EECF244321}">
                <p14:modId xmlns:p14="http://schemas.microsoft.com/office/powerpoint/2010/main" val="11124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D1A84018-3EA9-4268-8F41-C277173CD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TextBox 16">
            <a:extLst>
              <a:ext uri="{FF2B5EF4-FFF2-40B4-BE49-F238E27FC236}">
                <a16:creationId xmlns:a16="http://schemas.microsoft.com/office/drawing/2014/main" id="{BB721522-3DA9-4BD5-9C88-09C65BBDABCD}"/>
              </a:ext>
            </a:extLst>
          </p:cNvPr>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561453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13149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202258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000665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ct val="0"/>
              </a:spcBef>
              <a:spcAft>
                <a:spcPct val="0"/>
              </a:spcAft>
              <a:buClrTx/>
              <a:buSzTx/>
              <a:buFontTx/>
              <a:buNone/>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flipH="1">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861788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89250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915234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132126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84192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ct val="0"/>
              </a:spcBef>
              <a:spcAft>
                <a:spcPct val="0"/>
              </a:spcAft>
              <a:defRPr/>
            </a:lvl1pPr>
            <a:lvl2pPr>
              <a:lnSpc>
                <a:spcPct val="100000"/>
              </a:lnSpc>
              <a:spcBef>
                <a:spcPct val="0"/>
              </a:spcBef>
              <a:spcAft>
                <a:spcPct val="0"/>
              </a:spcAft>
              <a:defRPr/>
            </a:lvl2pPr>
            <a:lvl3pPr>
              <a:lnSpc>
                <a:spcPct val="100000"/>
              </a:lnSpc>
              <a:spcBef>
                <a:spcPct val="0"/>
              </a:spcBef>
              <a:spcAft>
                <a:spcPct val="0"/>
              </a:spcAft>
              <a:defRPr/>
            </a:lvl3pPr>
            <a:lvl4pPr>
              <a:lnSpc>
                <a:spcPct val="100000"/>
              </a:lnSpc>
              <a:spcBef>
                <a:spcPct val="0"/>
              </a:spcBef>
              <a:spcAft>
                <a:spcPct val="0"/>
              </a:spcAft>
              <a:defRPr/>
            </a:lvl4pPr>
            <a:lvl5pPr>
              <a:lnSpc>
                <a:spcPct val="100000"/>
              </a:lnSpc>
              <a:spcBef>
                <a:spcPct val="0"/>
              </a:spcBef>
              <a:spcAft>
                <a:spcPct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43287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4.xml"/><Relationship Id="rId21" Type="http://schemas.openxmlformats.org/officeDocument/2006/relationships/slideLayout" Target="../slideLayouts/slideLayout89.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63" Type="http://schemas.openxmlformats.org/officeDocument/2006/relationships/slideLayout" Target="../slideLayouts/slideLayout131.xml"/><Relationship Id="rId68" Type="http://schemas.openxmlformats.org/officeDocument/2006/relationships/theme" Target="../theme/theme2.xml"/><Relationship Id="rId7" Type="http://schemas.openxmlformats.org/officeDocument/2006/relationships/slideLayout" Target="../slideLayouts/slideLayout75.xml"/><Relationship Id="rId71"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5" Type="http://schemas.openxmlformats.org/officeDocument/2006/relationships/slideLayout" Target="../slideLayouts/slideLayout73.xml"/><Relationship Id="rId61" Type="http://schemas.openxmlformats.org/officeDocument/2006/relationships/slideLayout" Target="../slideLayouts/slideLayout129.xml"/><Relationship Id="rId19" Type="http://schemas.openxmlformats.org/officeDocument/2006/relationships/slideLayout" Target="../slideLayouts/slideLayout8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tags" Target="../tags/tag74.x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oleObject" Target="../embeddings/oleObject18.bin"/><Relationship Id="rId1" Type="http://schemas.openxmlformats.org/officeDocument/2006/relationships/slideLayout" Target="../slideLayouts/slideLayout69.xml"/><Relationship Id="rId6" Type="http://schemas.openxmlformats.org/officeDocument/2006/relationships/slideLayout" Target="../slideLayouts/slideLayout74.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10" Type="http://schemas.openxmlformats.org/officeDocument/2006/relationships/slideLayout" Target="../slideLayouts/slideLayout78.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9" Type="http://schemas.openxmlformats.org/officeDocument/2006/relationships/slideLayout" Target="../slideLayouts/slideLayout107.xml"/><Relationship Id="rId34" Type="http://schemas.openxmlformats.org/officeDocument/2006/relationships/slideLayout" Target="../slideLayouts/slideLayout102.xml"/><Relationship Id="rId50" Type="http://schemas.openxmlformats.org/officeDocument/2006/relationships/slideLayout" Target="../slideLayouts/slideLayout118.xml"/><Relationship Id="rId55" Type="http://schemas.openxmlformats.org/officeDocument/2006/relationships/slideLayout" Target="../slideLayouts/slideLayout12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1.xml"/><Relationship Id="rId21" Type="http://schemas.openxmlformats.org/officeDocument/2006/relationships/slideLayout" Target="../slideLayouts/slideLayout156.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63" Type="http://schemas.openxmlformats.org/officeDocument/2006/relationships/slideLayout" Target="../slideLayouts/slideLayout198.xml"/><Relationship Id="rId68" Type="http://schemas.openxmlformats.org/officeDocument/2006/relationships/slideLayout" Target="../slideLayouts/slideLayout203.xml"/><Relationship Id="rId7" Type="http://schemas.openxmlformats.org/officeDocument/2006/relationships/slideLayout" Target="../slideLayouts/slideLayout142.xml"/><Relationship Id="rId71" Type="http://schemas.openxmlformats.org/officeDocument/2006/relationships/oleObject" Target="../embeddings/oleObject18.bin"/><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9" Type="http://schemas.openxmlformats.org/officeDocument/2006/relationships/slideLayout" Target="../slideLayouts/slideLayout164.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3" Type="http://schemas.openxmlformats.org/officeDocument/2006/relationships/slideLayout" Target="../slideLayouts/slideLayout188.xml"/><Relationship Id="rId58" Type="http://schemas.openxmlformats.org/officeDocument/2006/relationships/slideLayout" Target="../slideLayouts/slideLayout193.xml"/><Relationship Id="rId66" Type="http://schemas.openxmlformats.org/officeDocument/2006/relationships/slideLayout" Target="../slideLayouts/slideLayout201.xml"/><Relationship Id="rId5" Type="http://schemas.openxmlformats.org/officeDocument/2006/relationships/slideLayout" Target="../slideLayouts/slideLayout140.xml"/><Relationship Id="rId61" Type="http://schemas.openxmlformats.org/officeDocument/2006/relationships/slideLayout" Target="../slideLayouts/slideLayout196.xml"/><Relationship Id="rId19" Type="http://schemas.openxmlformats.org/officeDocument/2006/relationships/slideLayout" Target="../slideLayouts/slideLayout15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56" Type="http://schemas.openxmlformats.org/officeDocument/2006/relationships/slideLayout" Target="../slideLayouts/slideLayout191.xml"/><Relationship Id="rId64" Type="http://schemas.openxmlformats.org/officeDocument/2006/relationships/slideLayout" Target="../slideLayouts/slideLayout199.xml"/><Relationship Id="rId69" Type="http://schemas.openxmlformats.org/officeDocument/2006/relationships/theme" Target="../theme/theme3.xml"/><Relationship Id="rId8" Type="http://schemas.openxmlformats.org/officeDocument/2006/relationships/slideLayout" Target="../slideLayouts/slideLayout143.xml"/><Relationship Id="rId51" Type="http://schemas.openxmlformats.org/officeDocument/2006/relationships/slideLayout" Target="../slideLayouts/slideLayout186.xml"/><Relationship Id="rId72" Type="http://schemas.openxmlformats.org/officeDocument/2006/relationships/image" Target="../media/image1.emf"/><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59" Type="http://schemas.openxmlformats.org/officeDocument/2006/relationships/slideLayout" Target="../slideLayouts/slideLayout194.xml"/><Relationship Id="rId67" Type="http://schemas.openxmlformats.org/officeDocument/2006/relationships/slideLayout" Target="../slideLayouts/slideLayout202.xml"/><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54" Type="http://schemas.openxmlformats.org/officeDocument/2006/relationships/slideLayout" Target="../slideLayouts/slideLayout189.xml"/><Relationship Id="rId62" Type="http://schemas.openxmlformats.org/officeDocument/2006/relationships/slideLayout" Target="../slideLayouts/slideLayout197.xml"/><Relationship Id="rId70" Type="http://schemas.openxmlformats.org/officeDocument/2006/relationships/tags" Target="../tags/tag10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slideLayout" Target="../slideLayouts/slideLayout184.xml"/><Relationship Id="rId57" Type="http://schemas.openxmlformats.org/officeDocument/2006/relationships/slideLayout" Target="../slideLayouts/slideLayout192.xml"/><Relationship Id="rId10" Type="http://schemas.openxmlformats.org/officeDocument/2006/relationships/slideLayout" Target="../slideLayouts/slideLayout145.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52" Type="http://schemas.openxmlformats.org/officeDocument/2006/relationships/slideLayout" Target="../slideLayouts/slideLayout187.xml"/><Relationship Id="rId60" Type="http://schemas.openxmlformats.org/officeDocument/2006/relationships/slideLayout" Target="../slideLayouts/slideLayout195.xml"/><Relationship Id="rId65" Type="http://schemas.openxmlformats.org/officeDocument/2006/relationships/slideLayout" Target="../slideLayouts/slideLayout200.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9" Type="http://schemas.openxmlformats.org/officeDocument/2006/relationships/slideLayout" Target="../slideLayouts/slideLayout174.xml"/><Relationship Id="rId34" Type="http://schemas.openxmlformats.org/officeDocument/2006/relationships/slideLayout" Target="../slideLayouts/slideLayout169.xml"/><Relationship Id="rId50" Type="http://schemas.openxmlformats.org/officeDocument/2006/relationships/slideLayout" Target="../slideLayouts/slideLayout185.xml"/><Relationship Id="rId55" Type="http://schemas.openxmlformats.org/officeDocument/2006/relationships/slideLayout" Target="../slideLayouts/slideLayout19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9.xml"/><Relationship Id="rId21" Type="http://schemas.openxmlformats.org/officeDocument/2006/relationships/slideLayout" Target="../slideLayouts/slideLayout224.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63" Type="http://schemas.openxmlformats.org/officeDocument/2006/relationships/slideLayout" Target="../slideLayouts/slideLayout266.xml"/><Relationship Id="rId68" Type="http://schemas.openxmlformats.org/officeDocument/2006/relationships/theme" Target="../theme/theme4.xml"/><Relationship Id="rId7" Type="http://schemas.openxmlformats.org/officeDocument/2006/relationships/slideLayout" Target="../slideLayouts/slideLayout210.xml"/><Relationship Id="rId71" Type="http://schemas.openxmlformats.org/officeDocument/2006/relationships/image" Target="../media/image1.emf"/><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9" Type="http://schemas.openxmlformats.org/officeDocument/2006/relationships/slideLayout" Target="../slideLayouts/slideLayout232.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3" Type="http://schemas.openxmlformats.org/officeDocument/2006/relationships/slideLayout" Target="../slideLayouts/slideLayout256.xml"/><Relationship Id="rId58" Type="http://schemas.openxmlformats.org/officeDocument/2006/relationships/slideLayout" Target="../slideLayouts/slideLayout261.xml"/><Relationship Id="rId66" Type="http://schemas.openxmlformats.org/officeDocument/2006/relationships/slideLayout" Target="../slideLayouts/slideLayout269.xml"/><Relationship Id="rId5" Type="http://schemas.openxmlformats.org/officeDocument/2006/relationships/slideLayout" Target="../slideLayouts/slideLayout208.xml"/><Relationship Id="rId61" Type="http://schemas.openxmlformats.org/officeDocument/2006/relationships/slideLayout" Target="../slideLayouts/slideLayout264.xml"/><Relationship Id="rId19" Type="http://schemas.openxmlformats.org/officeDocument/2006/relationships/slideLayout" Target="../slideLayouts/slideLayout22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56" Type="http://schemas.openxmlformats.org/officeDocument/2006/relationships/slideLayout" Target="../slideLayouts/slideLayout259.xml"/><Relationship Id="rId64" Type="http://schemas.openxmlformats.org/officeDocument/2006/relationships/slideLayout" Target="../slideLayouts/slideLayout267.xml"/><Relationship Id="rId69" Type="http://schemas.openxmlformats.org/officeDocument/2006/relationships/tags" Target="../tags/tag134.xml"/><Relationship Id="rId8" Type="http://schemas.openxmlformats.org/officeDocument/2006/relationships/slideLayout" Target="../slideLayouts/slideLayout211.xml"/><Relationship Id="rId51" Type="http://schemas.openxmlformats.org/officeDocument/2006/relationships/slideLayout" Target="../slideLayouts/slideLayout254.xml"/><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59" Type="http://schemas.openxmlformats.org/officeDocument/2006/relationships/slideLayout" Target="../slideLayouts/slideLayout262.xml"/><Relationship Id="rId67" Type="http://schemas.openxmlformats.org/officeDocument/2006/relationships/slideLayout" Target="../slideLayouts/slideLayout270.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54" Type="http://schemas.openxmlformats.org/officeDocument/2006/relationships/slideLayout" Target="../slideLayouts/slideLayout257.xml"/><Relationship Id="rId62" Type="http://schemas.openxmlformats.org/officeDocument/2006/relationships/slideLayout" Target="../slideLayouts/slideLayout265.xml"/><Relationship Id="rId70" Type="http://schemas.openxmlformats.org/officeDocument/2006/relationships/oleObject" Target="../embeddings/oleObject1.bin"/><Relationship Id="rId1" Type="http://schemas.openxmlformats.org/officeDocument/2006/relationships/slideLayout" Target="../slideLayouts/slideLayout204.xml"/><Relationship Id="rId6" Type="http://schemas.openxmlformats.org/officeDocument/2006/relationships/slideLayout" Target="../slideLayouts/slideLayout209.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slideLayout" Target="../slideLayouts/slideLayout252.xml"/><Relationship Id="rId57" Type="http://schemas.openxmlformats.org/officeDocument/2006/relationships/slideLayout" Target="../slideLayouts/slideLayout260.xml"/><Relationship Id="rId10" Type="http://schemas.openxmlformats.org/officeDocument/2006/relationships/slideLayout" Target="../slideLayouts/slideLayout213.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52" Type="http://schemas.openxmlformats.org/officeDocument/2006/relationships/slideLayout" Target="../slideLayouts/slideLayout255.xml"/><Relationship Id="rId60" Type="http://schemas.openxmlformats.org/officeDocument/2006/relationships/slideLayout" Target="../slideLayouts/slideLayout263.xml"/><Relationship Id="rId65" Type="http://schemas.openxmlformats.org/officeDocument/2006/relationships/slideLayout" Target="../slideLayouts/slideLayout268.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9" Type="http://schemas.openxmlformats.org/officeDocument/2006/relationships/slideLayout" Target="../slideLayouts/slideLayout242.xml"/><Relationship Id="rId34" Type="http://schemas.openxmlformats.org/officeDocument/2006/relationships/slideLayout" Target="../slideLayouts/slideLayout237.xml"/><Relationship Id="rId50" Type="http://schemas.openxmlformats.org/officeDocument/2006/relationships/slideLayout" Target="../slideLayouts/slideLayout253.xml"/><Relationship Id="rId55" Type="http://schemas.openxmlformats.org/officeDocument/2006/relationships/slideLayout" Target="../slideLayouts/slideLayout258.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96.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63" Type="http://schemas.openxmlformats.org/officeDocument/2006/relationships/slideLayout" Target="../slideLayouts/slideLayout333.xml"/><Relationship Id="rId68" Type="http://schemas.openxmlformats.org/officeDocument/2006/relationships/slideLayout" Target="../slideLayouts/slideLayout338.xml"/><Relationship Id="rId7" Type="http://schemas.openxmlformats.org/officeDocument/2006/relationships/slideLayout" Target="../slideLayouts/slideLayout277.xml"/><Relationship Id="rId71" Type="http://schemas.openxmlformats.org/officeDocument/2006/relationships/oleObject" Target="../embeddings/oleObject1.bin"/><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9" Type="http://schemas.openxmlformats.org/officeDocument/2006/relationships/slideLayout" Target="../slideLayouts/slideLayout299.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53" Type="http://schemas.openxmlformats.org/officeDocument/2006/relationships/slideLayout" Target="../slideLayouts/slideLayout323.xml"/><Relationship Id="rId58" Type="http://schemas.openxmlformats.org/officeDocument/2006/relationships/slideLayout" Target="../slideLayouts/slideLayout328.xml"/><Relationship Id="rId66" Type="http://schemas.openxmlformats.org/officeDocument/2006/relationships/slideLayout" Target="../slideLayouts/slideLayout336.xml"/><Relationship Id="rId5" Type="http://schemas.openxmlformats.org/officeDocument/2006/relationships/slideLayout" Target="../slideLayouts/slideLayout275.xml"/><Relationship Id="rId61" Type="http://schemas.openxmlformats.org/officeDocument/2006/relationships/slideLayout" Target="../slideLayouts/slideLayout331.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56" Type="http://schemas.openxmlformats.org/officeDocument/2006/relationships/slideLayout" Target="../slideLayouts/slideLayout326.xml"/><Relationship Id="rId64" Type="http://schemas.openxmlformats.org/officeDocument/2006/relationships/slideLayout" Target="../slideLayouts/slideLayout334.xml"/><Relationship Id="rId69" Type="http://schemas.openxmlformats.org/officeDocument/2006/relationships/theme" Target="../theme/theme5.xml"/><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image" Target="../media/image1.emf"/><Relationship Id="rId3" Type="http://schemas.openxmlformats.org/officeDocument/2006/relationships/slideLayout" Target="../slideLayouts/slideLayout273.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59" Type="http://schemas.openxmlformats.org/officeDocument/2006/relationships/slideLayout" Target="../slideLayouts/slideLayout329.xml"/><Relationship Id="rId67" Type="http://schemas.openxmlformats.org/officeDocument/2006/relationships/slideLayout" Target="../slideLayouts/slideLayout33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54" Type="http://schemas.openxmlformats.org/officeDocument/2006/relationships/slideLayout" Target="../slideLayouts/slideLayout324.xml"/><Relationship Id="rId62" Type="http://schemas.openxmlformats.org/officeDocument/2006/relationships/slideLayout" Target="../slideLayouts/slideLayout332.xml"/><Relationship Id="rId70" Type="http://schemas.openxmlformats.org/officeDocument/2006/relationships/tags" Target="../tags/tag206.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slideLayout" Target="../slideLayouts/slideLayout319.xml"/><Relationship Id="rId57" Type="http://schemas.openxmlformats.org/officeDocument/2006/relationships/slideLayout" Target="../slideLayouts/slideLayout32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52" Type="http://schemas.openxmlformats.org/officeDocument/2006/relationships/slideLayout" Target="../slideLayouts/slideLayout322.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282583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Title Placeholder 1"/>
          <p:cNvSpPr>
            <a:spLocks noGrp="1"/>
          </p:cNvSpPr>
          <p:nvPr>
            <p:ph type="title"/>
          </p:nvPr>
        </p:nvSpPr>
        <p:spPr>
          <a:xfrm>
            <a:off x="628650" y="372848"/>
            <a:ext cx="10335056" cy="62523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30000" y="2081213"/>
            <a:ext cx="10933350" cy="409575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322"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45164"/>
        </a:buClr>
        <a:buFont typeface="Aptos" panose="020B00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45164"/>
        </a:buClr>
        <a:buFont typeface="Arial" panose="020B0604020202020204" pitchFamily="34" charset="0"/>
        <a:buChar char="​"/>
        <a:defRPr lang="en-US" sz="1600" kern="1200">
          <a:solidFill>
            <a:srgbClr val="145164"/>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45164"/>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45164"/>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45164"/>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45164"/>
        </a:buClr>
        <a:buFont typeface="Arial" panose="020B0604020202020204" pitchFamily="34" charset="0"/>
        <a:buChar char="​"/>
        <a:defRPr lang="en-US" sz="5400" kern="1200" baseline="0" smtClean="0">
          <a:solidFill>
            <a:srgbClr val="145164"/>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45164"/>
        </a:buClr>
        <a:buFont typeface="Arial" panose="020B0604020202020204" pitchFamily="34" charset="0"/>
        <a:buChar char="​"/>
        <a:defRPr lang="en-US" sz="2400" kern="1200" baseline="0" dirty="0">
          <a:solidFill>
            <a:srgbClr val="145164"/>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4201021"/>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ct val="0"/>
              </a:spcBef>
              <a:spcAft>
                <a:spcPct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ct val="0"/>
                </a:spcBef>
                <a:spcAft>
                  <a:spcPct val="0"/>
                </a:spcAft>
                <a:buClrTx/>
                <a:buSzTx/>
                <a:buFontTx/>
                <a:buNone/>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907453663"/>
      </p:ext>
    </p:extLst>
  </p:cSld>
  <p:clrMap bg1="lt1" tx1="dk1" bg2="lt2" tx2="dk2" accent1="accent1" accent2="accent2" accent3="accent3" accent4="accent4" accent5="accent5" accent6="accent6" hlink="hlink" folHlink="folHlink"/>
  <p:sldLayoutIdLst>
    <p:sldLayoutId id="2147485254" r:id="rId1"/>
    <p:sldLayoutId id="2147485255" r:id="rId2"/>
    <p:sldLayoutId id="2147485256" r:id="rId3"/>
    <p:sldLayoutId id="2147485257" r:id="rId4"/>
    <p:sldLayoutId id="2147485258" r:id="rId5"/>
    <p:sldLayoutId id="2147485259" r:id="rId6"/>
    <p:sldLayoutId id="2147485260" r:id="rId7"/>
    <p:sldLayoutId id="2147485261" r:id="rId8"/>
    <p:sldLayoutId id="2147485262" r:id="rId9"/>
    <p:sldLayoutId id="2147485263" r:id="rId10"/>
    <p:sldLayoutId id="2147485264" r:id="rId11"/>
    <p:sldLayoutId id="2147485265" r:id="rId12"/>
    <p:sldLayoutId id="2147485266" r:id="rId13"/>
    <p:sldLayoutId id="2147485267" r:id="rId14"/>
    <p:sldLayoutId id="2147485268" r:id="rId15"/>
    <p:sldLayoutId id="2147485269" r:id="rId16"/>
    <p:sldLayoutId id="2147485270" r:id="rId17"/>
    <p:sldLayoutId id="2147485271" r:id="rId18"/>
    <p:sldLayoutId id="2147485272" r:id="rId19"/>
    <p:sldLayoutId id="2147485273" r:id="rId20"/>
    <p:sldLayoutId id="2147485274" r:id="rId21"/>
    <p:sldLayoutId id="2147485275" r:id="rId22"/>
    <p:sldLayoutId id="2147485276" r:id="rId23"/>
    <p:sldLayoutId id="2147485277" r:id="rId24"/>
    <p:sldLayoutId id="2147485278" r:id="rId25"/>
    <p:sldLayoutId id="2147485279" r:id="rId26"/>
    <p:sldLayoutId id="2147485280" r:id="rId27"/>
    <p:sldLayoutId id="2147485281" r:id="rId28"/>
    <p:sldLayoutId id="2147485282" r:id="rId29"/>
    <p:sldLayoutId id="2147485283" r:id="rId30"/>
    <p:sldLayoutId id="2147485284" r:id="rId31"/>
    <p:sldLayoutId id="2147485285" r:id="rId32"/>
    <p:sldLayoutId id="2147485286" r:id="rId33"/>
    <p:sldLayoutId id="2147485287" r:id="rId34"/>
    <p:sldLayoutId id="2147485288" r:id="rId35"/>
    <p:sldLayoutId id="2147485289" r:id="rId36"/>
    <p:sldLayoutId id="2147485290" r:id="rId37"/>
    <p:sldLayoutId id="2147485291" r:id="rId38"/>
    <p:sldLayoutId id="2147485292" r:id="rId39"/>
    <p:sldLayoutId id="2147485293" r:id="rId40"/>
    <p:sldLayoutId id="2147485294" r:id="rId41"/>
    <p:sldLayoutId id="2147485295" r:id="rId42"/>
    <p:sldLayoutId id="2147485296" r:id="rId43"/>
    <p:sldLayoutId id="2147485297" r:id="rId44"/>
    <p:sldLayoutId id="2147485298" r:id="rId45"/>
    <p:sldLayoutId id="2147485299" r:id="rId46"/>
    <p:sldLayoutId id="2147485300" r:id="rId47"/>
    <p:sldLayoutId id="2147485301" r:id="rId48"/>
    <p:sldLayoutId id="2147485302" r:id="rId49"/>
    <p:sldLayoutId id="2147485303" r:id="rId50"/>
    <p:sldLayoutId id="2147485304" r:id="rId51"/>
    <p:sldLayoutId id="2147485305" r:id="rId52"/>
    <p:sldLayoutId id="2147485306" r:id="rId53"/>
    <p:sldLayoutId id="2147485307" r:id="rId54"/>
    <p:sldLayoutId id="2147485308" r:id="rId55"/>
    <p:sldLayoutId id="2147485309" r:id="rId56"/>
    <p:sldLayoutId id="2147485310" r:id="rId57"/>
    <p:sldLayoutId id="2147485311" r:id="rId58"/>
    <p:sldLayoutId id="2147485312" r:id="rId59"/>
    <p:sldLayoutId id="2147485313" r:id="rId60"/>
    <p:sldLayoutId id="2147485314" r:id="rId61"/>
    <p:sldLayoutId id="2147485315" r:id="rId62"/>
    <p:sldLayoutId id="2147485316" r:id="rId63"/>
    <p:sldLayoutId id="2147485317" r:id="rId64"/>
    <p:sldLayoutId id="2147485318" r:id="rId65"/>
    <p:sldLayoutId id="2147485319" r:id="rId66"/>
    <p:sldLayoutId id="2147485320" r:id="rId67"/>
    <p:sldLayoutId id="2147485321"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2282583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Title Placeholder 1"/>
          <p:cNvSpPr>
            <a:spLocks noGrp="1"/>
          </p:cNvSpPr>
          <p:nvPr>
            <p:ph type="title"/>
          </p:nvPr>
        </p:nvSpPr>
        <p:spPr>
          <a:xfrm>
            <a:off x="628650" y="372848"/>
            <a:ext cx="10335056" cy="62523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30000" y="2081213"/>
            <a:ext cx="10933350" cy="409575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46455832"/>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 id="2147485350" r:id="rId27"/>
    <p:sldLayoutId id="2147485351" r:id="rId28"/>
    <p:sldLayoutId id="2147485352" r:id="rId29"/>
    <p:sldLayoutId id="2147485353" r:id="rId30"/>
    <p:sldLayoutId id="2147485354" r:id="rId31"/>
    <p:sldLayoutId id="2147485355" r:id="rId32"/>
    <p:sldLayoutId id="2147485356" r:id="rId33"/>
    <p:sldLayoutId id="2147485357" r:id="rId34"/>
    <p:sldLayoutId id="2147485358" r:id="rId35"/>
    <p:sldLayoutId id="2147485359" r:id="rId36"/>
    <p:sldLayoutId id="2147485360" r:id="rId37"/>
    <p:sldLayoutId id="2147485361" r:id="rId38"/>
    <p:sldLayoutId id="2147485362" r:id="rId39"/>
    <p:sldLayoutId id="2147485363" r:id="rId40"/>
    <p:sldLayoutId id="2147485364" r:id="rId41"/>
    <p:sldLayoutId id="2147485365" r:id="rId42"/>
    <p:sldLayoutId id="2147485366" r:id="rId43"/>
    <p:sldLayoutId id="2147485367" r:id="rId44"/>
    <p:sldLayoutId id="2147485368" r:id="rId45"/>
    <p:sldLayoutId id="2147485369" r:id="rId46"/>
    <p:sldLayoutId id="2147485370" r:id="rId47"/>
    <p:sldLayoutId id="2147485371" r:id="rId48"/>
    <p:sldLayoutId id="2147485372" r:id="rId49"/>
    <p:sldLayoutId id="2147485373" r:id="rId50"/>
    <p:sldLayoutId id="2147485374" r:id="rId51"/>
    <p:sldLayoutId id="2147485375" r:id="rId52"/>
    <p:sldLayoutId id="2147485376" r:id="rId53"/>
    <p:sldLayoutId id="2147485377" r:id="rId54"/>
    <p:sldLayoutId id="2147485378" r:id="rId55"/>
    <p:sldLayoutId id="2147485379" r:id="rId56"/>
    <p:sldLayoutId id="2147485380" r:id="rId57"/>
    <p:sldLayoutId id="2147485381" r:id="rId58"/>
    <p:sldLayoutId id="2147485382" r:id="rId59"/>
    <p:sldLayoutId id="2147485383" r:id="rId60"/>
    <p:sldLayoutId id="2147485384" r:id="rId61"/>
    <p:sldLayoutId id="2147485385" r:id="rId62"/>
    <p:sldLayoutId id="2147485386" r:id="rId63"/>
    <p:sldLayoutId id="2147485387" r:id="rId64"/>
    <p:sldLayoutId id="2147485388" r:id="rId65"/>
    <p:sldLayoutId id="2147485389" r:id="rId66"/>
    <p:sldLayoutId id="214748539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45164"/>
        </a:buClr>
        <a:buFont typeface="Aptos" panose="020B00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45164"/>
        </a:buClr>
        <a:buFont typeface="Arial" panose="020B0604020202020204" pitchFamily="34" charset="0"/>
        <a:buChar char="​"/>
        <a:defRPr lang="en-US" sz="1600" kern="1200">
          <a:solidFill>
            <a:srgbClr val="145164"/>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45164"/>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45164"/>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45164"/>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45164"/>
        </a:buClr>
        <a:buFont typeface="Arial" panose="020B0604020202020204" pitchFamily="34" charset="0"/>
        <a:buChar char="​"/>
        <a:defRPr lang="en-US" sz="5400" kern="1200" baseline="0" smtClean="0">
          <a:solidFill>
            <a:srgbClr val="145164"/>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45164"/>
        </a:buClr>
        <a:buFont typeface="Arial" panose="020B0604020202020204" pitchFamily="34" charset="0"/>
        <a:buChar char="​"/>
        <a:defRPr lang="en-US" sz="2400" kern="1200" baseline="0" dirty="0">
          <a:solidFill>
            <a:srgbClr val="145164"/>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282583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Title Placeholder 1"/>
          <p:cNvSpPr>
            <a:spLocks noGrp="1"/>
          </p:cNvSpPr>
          <p:nvPr>
            <p:ph type="title"/>
          </p:nvPr>
        </p:nvSpPr>
        <p:spPr>
          <a:xfrm>
            <a:off x="628650" y="372848"/>
            <a:ext cx="10335056" cy="62523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30000" y="2081213"/>
            <a:ext cx="10933350" cy="40957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p:cNvSpPr txBox="1"/>
          <p:nvPr userDrawn="1"/>
        </p:nvSpPr>
        <p:spPr>
          <a:xfrm>
            <a:off x="8820151" y="6356350"/>
            <a:ext cx="2743200" cy="365125"/>
          </a:xfrm>
          <a:prstGeom prst="rect">
            <a:avLst/>
          </a:prstGeom>
          <a:noFill/>
        </p:spPr>
        <p:txBody>
          <a:bodyPr wrap="square" lIns="0" tIns="45720" rIns="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767676"/>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a:solidFill>
                <a:srgbClr val="767676"/>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73799133"/>
      </p:ext>
    </p:extLst>
  </p:cSld>
  <p:clrMap bg1="lt1" tx1="dk1" bg2="lt2" tx2="dk2" accent1="accent1" accent2="accent2" accent3="accent3" accent4="accent4" accent5="accent5" accent6="accent6" hlink="hlink" folHlink="folHlink"/>
  <p:sldLayoutIdLst>
    <p:sldLayoutId id="2147485392" r:id="rId1"/>
    <p:sldLayoutId id="2147485393" r:id="rId2"/>
    <p:sldLayoutId id="2147485394" r:id="rId3"/>
    <p:sldLayoutId id="2147485395" r:id="rId4"/>
    <p:sldLayoutId id="2147485396" r:id="rId5"/>
    <p:sldLayoutId id="2147485397" r:id="rId6"/>
    <p:sldLayoutId id="2147485398" r:id="rId7"/>
    <p:sldLayoutId id="2147485399" r:id="rId8"/>
    <p:sldLayoutId id="2147485400" r:id="rId9"/>
    <p:sldLayoutId id="2147485401" r:id="rId10"/>
    <p:sldLayoutId id="2147485402" r:id="rId11"/>
    <p:sldLayoutId id="2147485403" r:id="rId12"/>
    <p:sldLayoutId id="2147485404" r:id="rId13"/>
    <p:sldLayoutId id="2147485405" r:id="rId14"/>
    <p:sldLayoutId id="2147485406" r:id="rId15"/>
    <p:sldLayoutId id="2147485407" r:id="rId16"/>
    <p:sldLayoutId id="2147485408" r:id="rId17"/>
    <p:sldLayoutId id="2147485409" r:id="rId18"/>
    <p:sldLayoutId id="2147485410" r:id="rId19"/>
    <p:sldLayoutId id="2147485411" r:id="rId20"/>
    <p:sldLayoutId id="2147485412" r:id="rId21"/>
    <p:sldLayoutId id="2147485413" r:id="rId22"/>
    <p:sldLayoutId id="2147485414" r:id="rId23"/>
    <p:sldLayoutId id="2147485415" r:id="rId24"/>
    <p:sldLayoutId id="2147485416" r:id="rId25"/>
    <p:sldLayoutId id="2147485417" r:id="rId26"/>
    <p:sldLayoutId id="2147485418" r:id="rId27"/>
    <p:sldLayoutId id="2147485419" r:id="rId28"/>
    <p:sldLayoutId id="2147485420" r:id="rId29"/>
    <p:sldLayoutId id="2147485421" r:id="rId30"/>
    <p:sldLayoutId id="2147485422" r:id="rId31"/>
    <p:sldLayoutId id="2147485423" r:id="rId32"/>
    <p:sldLayoutId id="2147485424" r:id="rId33"/>
    <p:sldLayoutId id="2147485425" r:id="rId34"/>
    <p:sldLayoutId id="2147485426" r:id="rId35"/>
    <p:sldLayoutId id="2147485427" r:id="rId36"/>
    <p:sldLayoutId id="2147485428" r:id="rId37"/>
    <p:sldLayoutId id="2147485429" r:id="rId38"/>
    <p:sldLayoutId id="2147485430" r:id="rId39"/>
    <p:sldLayoutId id="2147485431" r:id="rId40"/>
    <p:sldLayoutId id="2147485432" r:id="rId41"/>
    <p:sldLayoutId id="2147485433" r:id="rId42"/>
    <p:sldLayoutId id="2147485434" r:id="rId43"/>
    <p:sldLayoutId id="2147485435" r:id="rId44"/>
    <p:sldLayoutId id="2147485436" r:id="rId45"/>
    <p:sldLayoutId id="2147485437" r:id="rId46"/>
    <p:sldLayoutId id="2147485438" r:id="rId47"/>
    <p:sldLayoutId id="2147485439" r:id="rId48"/>
    <p:sldLayoutId id="2147485440" r:id="rId49"/>
    <p:sldLayoutId id="2147485441" r:id="rId50"/>
    <p:sldLayoutId id="2147485442" r:id="rId51"/>
    <p:sldLayoutId id="2147485443" r:id="rId52"/>
    <p:sldLayoutId id="2147485444" r:id="rId53"/>
    <p:sldLayoutId id="2147485445" r:id="rId54"/>
    <p:sldLayoutId id="2147485446" r:id="rId55"/>
    <p:sldLayoutId id="2147485447" r:id="rId56"/>
    <p:sldLayoutId id="2147485448" r:id="rId57"/>
    <p:sldLayoutId id="2147485449" r:id="rId58"/>
    <p:sldLayoutId id="2147485450" r:id="rId59"/>
    <p:sldLayoutId id="2147485451" r:id="rId60"/>
    <p:sldLayoutId id="2147485452" r:id="rId61"/>
    <p:sldLayoutId id="2147485453" r:id="rId62"/>
    <p:sldLayoutId id="2147485454" r:id="rId63"/>
    <p:sldLayoutId id="2147485455" r:id="rId64"/>
    <p:sldLayoutId id="2147485456" r:id="rId65"/>
    <p:sldLayoutId id="2147485457" r:id="rId66"/>
    <p:sldLayoutId id="2147485458" r:id="rId67"/>
    <p:sldLayoutId id="2147485459"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45164"/>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45164"/>
        </a:buClr>
        <a:buFont typeface="Aptos" panose="020B00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45164"/>
        </a:buClr>
        <a:buFont typeface="Arial" panose="020B0604020202020204" pitchFamily="34" charset="0"/>
        <a:buChar char="​"/>
        <a:defRPr lang="en-US" sz="1600" kern="1200">
          <a:solidFill>
            <a:srgbClr val="145164"/>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45164"/>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45164"/>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45164"/>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45164"/>
        </a:buClr>
        <a:buFont typeface="Arial" panose="020B0604020202020204" pitchFamily="34" charset="0"/>
        <a:buChar char="​"/>
        <a:defRPr lang="en-US" sz="5400" kern="1200" baseline="0" smtClean="0">
          <a:solidFill>
            <a:srgbClr val="145164"/>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45164"/>
        </a:buClr>
        <a:buFont typeface="Arial" panose="020B0604020202020204" pitchFamily="34" charset="0"/>
        <a:buChar char="​"/>
        <a:defRPr lang="en-US" sz="2400" kern="1200" baseline="0" dirty="0">
          <a:solidFill>
            <a:srgbClr val="145164"/>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hyperlink" Target="mailto:lkm39@cam.ac.uk" TargetMode="Externa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ags" Target="../tags/tag278.x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1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81.xml"/><Relationship Id="rId7" Type="http://schemas.openxmlformats.org/officeDocument/2006/relationships/oleObject" Target="../embeddings/oleObject34.bin"/><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notesSlide" Target="../notesSlides/notesSlide3.xml"/><Relationship Id="rId11" Type="http://schemas.openxmlformats.org/officeDocument/2006/relationships/image" Target="../media/image22.png"/><Relationship Id="rId5" Type="http://schemas.openxmlformats.org/officeDocument/2006/relationships/slideLayout" Target="../slideLayouts/slideLayout30.xml"/><Relationship Id="rId10" Type="http://schemas.openxmlformats.org/officeDocument/2006/relationships/image" Target="../media/image21.png"/><Relationship Id="rId4" Type="http://schemas.openxmlformats.org/officeDocument/2006/relationships/tags" Target="../tags/tag282.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85.xml"/><Relationship Id="rId7" Type="http://schemas.openxmlformats.org/officeDocument/2006/relationships/image" Target="../media/image19.emf"/><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oleObject" Target="../embeddings/oleObject34.bin"/><Relationship Id="rId5" Type="http://schemas.openxmlformats.org/officeDocument/2006/relationships/notesSlide" Target="../notesSlides/notesSlide4.xml"/><Relationship Id="rId4" Type="http://schemas.openxmlformats.org/officeDocument/2006/relationships/slideLayout" Target="../slideLayouts/slideLayout30.xml"/><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0.xml"/><Relationship Id="rId1" Type="http://schemas.openxmlformats.org/officeDocument/2006/relationships/tags" Target="../tags/tag286.xml"/><Relationship Id="rId5" Type="http://schemas.openxmlformats.org/officeDocument/2006/relationships/image" Target="../media/image26.png"/><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3.xml"/><Relationship Id="rId4" Type="http://schemas.openxmlformats.org/officeDocument/2006/relationships/hyperlink" Target="http://www.ces.partner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30.xml"/><Relationship Id="rId1" Type="http://schemas.openxmlformats.org/officeDocument/2006/relationships/tags" Target="../tags/tag287.xml"/><Relationship Id="rId6" Type="http://schemas.openxmlformats.org/officeDocument/2006/relationships/image" Target="../media/image21.png"/><Relationship Id="rId5" Type="http://schemas.openxmlformats.org/officeDocument/2006/relationships/image" Target="../media/image25.emf"/><Relationship Id="rId10" Type="http://schemas.openxmlformats.org/officeDocument/2006/relationships/image" Target="../media/image30.png"/><Relationship Id="rId4" Type="http://schemas.openxmlformats.org/officeDocument/2006/relationships/oleObject" Target="../embeddings/oleObject36.bin"/><Relationship Id="rId9" Type="http://schemas.openxmlformats.org/officeDocument/2006/relationships/image" Target="../media/image24.png"/></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6.xml"/><Relationship Id="rId7" Type="http://schemas.openxmlformats.org/officeDocument/2006/relationships/image" Target="../media/image32.png"/><Relationship Id="rId2" Type="http://schemas.openxmlformats.org/officeDocument/2006/relationships/slideLayout" Target="../slideLayouts/slideLayout30.xml"/><Relationship Id="rId1" Type="http://schemas.openxmlformats.org/officeDocument/2006/relationships/tags" Target="../tags/tag288.x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0.xml"/><Relationship Id="rId1" Type="http://schemas.openxmlformats.org/officeDocument/2006/relationships/tags" Target="../tags/tag289.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hyperlink" Target="http://www.ces.partners/" TargetMode="External"/><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s>
</file>

<file path=ppt/slides/_rels/slide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21B490F-32F5-E746-9BD5-C49B820A37E4}"/>
              </a:ext>
            </a:extLst>
          </p:cNvPr>
          <p:cNvPicPr>
            <a:picLocks noChangeAspect="1"/>
          </p:cNvPicPr>
          <p:nvPr/>
        </p:nvPicPr>
        <p:blipFill rotWithShape="1">
          <a:blip r:embed="rId3"/>
          <a:srcRect/>
          <a:stretch>
            <a:fillRect/>
          </a:stretch>
        </p:blipFill>
        <p:spPr>
          <a:xfrm>
            <a:off x="7987555" y="2653555"/>
            <a:ext cx="4204445" cy="4204445"/>
          </a:xfrm>
          <a:prstGeom prst="rect">
            <a:avLst/>
          </a:prstGeom>
        </p:spPr>
      </p:pic>
      <p:pic>
        <p:nvPicPr>
          <p:cNvPr id="5" name="Picture 4">
            <a:extLst>
              <a:ext uri="{FF2B5EF4-FFF2-40B4-BE49-F238E27FC236}">
                <a16:creationId xmlns:a16="http://schemas.microsoft.com/office/drawing/2014/main" id="{81A5C9F2-D9CD-2D48-BA90-3B150645E7BF}"/>
              </a:ext>
            </a:extLst>
          </p:cNvPr>
          <p:cNvPicPr>
            <a:picLocks noChangeAspect="1"/>
          </p:cNvPicPr>
          <p:nvPr/>
        </p:nvPicPr>
        <p:blipFill>
          <a:blip r:embed="rId4"/>
          <a:stretch>
            <a:fillRect/>
          </a:stretch>
        </p:blipFill>
        <p:spPr>
          <a:xfrm>
            <a:off x="10298632" y="394212"/>
            <a:ext cx="1462363" cy="901083"/>
          </a:xfrm>
          <a:prstGeom prst="rect">
            <a:avLst/>
          </a:prstGeom>
        </p:spPr>
      </p:pic>
      <p:sp>
        <p:nvSpPr>
          <p:cNvPr id="6" name="TextBox 5">
            <a:extLst>
              <a:ext uri="{FF2B5EF4-FFF2-40B4-BE49-F238E27FC236}">
                <a16:creationId xmlns:a16="http://schemas.microsoft.com/office/drawing/2014/main" id="{2BEA6628-0F02-324E-A752-E2C017DE0E44}"/>
              </a:ext>
            </a:extLst>
          </p:cNvPr>
          <p:cNvSpPr txBox="1"/>
          <p:nvPr/>
        </p:nvSpPr>
        <p:spPr>
          <a:xfrm>
            <a:off x="1007534" y="467786"/>
            <a:ext cx="2316039" cy="1037528"/>
          </a:xfrm>
          <a:prstGeom prst="rect">
            <a:avLst/>
          </a:prstGeom>
          <a:noFill/>
        </p:spPr>
        <p:txBody>
          <a:bodyPr wrap="square" lIns="0" tIns="0" rIns="0" bIns="0" rtlCol="0">
            <a:spAutoFit/>
          </a:bodyPr>
          <a:lstStyle/>
          <a:p>
            <a:pPr>
              <a:lnSpc>
                <a:spcPts val="2000"/>
              </a:lnSpc>
            </a:pPr>
            <a:r>
              <a:rPr lang="en-GB" sz="2133" b="1" cap="all" dirty="0">
                <a:solidFill>
                  <a:srgbClr val="145164"/>
                </a:solidFill>
                <a:latin typeface="Open Sans" pitchFamily="2" charset="0"/>
              </a:rPr>
              <a:t>International Comparative Review</a:t>
            </a:r>
            <a:endParaRPr lang="en-GB" sz="2133" cap="all" dirty="0">
              <a:solidFill>
                <a:srgbClr val="145164"/>
              </a:solidFill>
              <a:latin typeface="Open Sans" pitchFamily="2" charset="0"/>
            </a:endParaRPr>
          </a:p>
          <a:p>
            <a:pPr>
              <a:lnSpc>
                <a:spcPts val="2000"/>
              </a:lnSpc>
            </a:pPr>
            <a:endParaRPr lang="en-US" sz="2133" dirty="0"/>
          </a:p>
        </p:txBody>
      </p:sp>
      <p:sp>
        <p:nvSpPr>
          <p:cNvPr id="7" name="Rectangle 6">
            <a:extLst>
              <a:ext uri="{FF2B5EF4-FFF2-40B4-BE49-F238E27FC236}">
                <a16:creationId xmlns:a16="http://schemas.microsoft.com/office/drawing/2014/main" id="{2F40C185-D410-7246-8BDF-0919B726ED2F}"/>
              </a:ext>
            </a:extLst>
          </p:cNvPr>
          <p:cNvSpPr/>
          <p:nvPr/>
        </p:nvSpPr>
        <p:spPr>
          <a:xfrm>
            <a:off x="0" y="0"/>
            <a:ext cx="527053" cy="6858000"/>
          </a:xfrm>
          <a:prstGeom prst="rect">
            <a:avLst/>
          </a:prstGeom>
          <a:solidFill>
            <a:srgbClr val="AAB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Rectangle 2">
            <a:extLst>
              <a:ext uri="{FF2B5EF4-FFF2-40B4-BE49-F238E27FC236}">
                <a16:creationId xmlns:a16="http://schemas.microsoft.com/office/drawing/2014/main" id="{C8744978-8247-0447-90E9-F58AEF3F18E1}"/>
              </a:ext>
            </a:extLst>
          </p:cNvPr>
          <p:cNvSpPr/>
          <p:nvPr/>
        </p:nvSpPr>
        <p:spPr>
          <a:xfrm>
            <a:off x="11202630" y="5513534"/>
            <a:ext cx="712054" cy="1200329"/>
          </a:xfrm>
          <a:prstGeom prst="rect">
            <a:avLst/>
          </a:prstGeom>
        </p:spPr>
        <p:txBody>
          <a:bodyPr wrap="none">
            <a:spAutoFit/>
          </a:bodyPr>
          <a:lstStyle/>
          <a:p>
            <a:pPr algn="ctr"/>
            <a:r>
              <a:rPr lang="en-GB" sz="7200" b="1" dirty="0">
                <a:solidFill>
                  <a:srgbClr val="145164"/>
                </a:solidFill>
                <a:latin typeface="Open Sans" pitchFamily="2" charset="0"/>
              </a:rPr>
              <a:t>1</a:t>
            </a:r>
            <a:endParaRPr lang="en-GB" sz="7200" dirty="0">
              <a:solidFill>
                <a:srgbClr val="145164"/>
              </a:solidFill>
              <a:latin typeface="Open Sans" pitchFamily="2" charset="0"/>
            </a:endParaRPr>
          </a:p>
        </p:txBody>
      </p:sp>
      <p:sp>
        <p:nvSpPr>
          <p:cNvPr id="9" name="TextBox 8">
            <a:extLst>
              <a:ext uri="{FF2B5EF4-FFF2-40B4-BE49-F238E27FC236}">
                <a16:creationId xmlns:a16="http://schemas.microsoft.com/office/drawing/2014/main" id="{0448D34C-E7F7-6541-930A-12B66A05F3AE}"/>
              </a:ext>
            </a:extLst>
          </p:cNvPr>
          <p:cNvSpPr txBox="1"/>
          <p:nvPr/>
        </p:nvSpPr>
        <p:spPr>
          <a:xfrm>
            <a:off x="1024235" y="2650278"/>
            <a:ext cx="6315596" cy="2267287"/>
          </a:xfrm>
          <a:prstGeom prst="rect">
            <a:avLst/>
          </a:prstGeom>
          <a:noFill/>
        </p:spPr>
        <p:txBody>
          <a:bodyPr wrap="square" lIns="0" tIns="0" rIns="0" bIns="0" rtlCol="0">
            <a:spAutoFit/>
          </a:bodyPr>
          <a:lstStyle/>
          <a:p>
            <a:r>
              <a:rPr lang="en-GB" sz="3200" b="1" dirty="0">
                <a:solidFill>
                  <a:srgbClr val="AABA9E"/>
                </a:solidFill>
                <a:latin typeface="Open Sans" pitchFamily="2" charset="0"/>
              </a:rPr>
              <a:t>CES Comparative Reviews</a:t>
            </a:r>
            <a:endParaRPr lang="en-GB" sz="3200" dirty="0">
              <a:solidFill>
                <a:srgbClr val="AABA9E"/>
              </a:solidFill>
              <a:latin typeface="Open Sans" pitchFamily="2" charset="0"/>
            </a:endParaRPr>
          </a:p>
          <a:p>
            <a:pPr>
              <a:spcAft>
                <a:spcPts val="400"/>
              </a:spcAft>
            </a:pPr>
            <a:r>
              <a:rPr lang="en-GB" sz="2400" dirty="0">
                <a:latin typeface="Open Sans" pitchFamily="2" charset="0"/>
              </a:rPr>
              <a:t>Loic Menzies</a:t>
            </a:r>
          </a:p>
          <a:p>
            <a:pPr>
              <a:spcAft>
                <a:spcPts val="400"/>
              </a:spcAft>
            </a:pPr>
            <a:r>
              <a:rPr lang="en-GB" dirty="0">
                <a:latin typeface="Open Sans" pitchFamily="2" charset="0"/>
              </a:rPr>
              <a:t>Chief Research Officer – Centre for Education Systems</a:t>
            </a:r>
          </a:p>
          <a:p>
            <a:pPr>
              <a:spcAft>
                <a:spcPts val="400"/>
              </a:spcAft>
            </a:pPr>
            <a:r>
              <a:rPr lang="en-GB" dirty="0">
                <a:latin typeface="Open Sans" pitchFamily="2" charset="0"/>
              </a:rPr>
              <a:t>Senior Research Associate – Jesus College IF, Cambridge</a:t>
            </a:r>
          </a:p>
          <a:p>
            <a:pPr>
              <a:spcAft>
                <a:spcPts val="400"/>
              </a:spcAft>
            </a:pPr>
            <a:r>
              <a:rPr lang="en-GB" dirty="0">
                <a:solidFill>
                  <a:schemeClr val="accent2">
                    <a:lumMod val="50000"/>
                  </a:schemeClr>
                </a:solidFill>
                <a:latin typeface="Open Sans" pitchFamily="2" charset="0"/>
                <a:hlinkClick r:id="rId5">
                  <a:extLst>
                    <a:ext uri="{A12FA001-AC4F-418D-AE19-62706E023703}">
                      <ahyp:hlinkClr xmlns:ahyp="http://schemas.microsoft.com/office/drawing/2018/hyperlinkcolor" val="tx"/>
                    </a:ext>
                  </a:extLst>
                </a:hlinkClick>
              </a:rPr>
              <a:t>lkm39@cam.ac.uk</a:t>
            </a:r>
            <a:r>
              <a:rPr lang="en-GB" dirty="0">
                <a:solidFill>
                  <a:schemeClr val="accent2">
                    <a:lumMod val="50000"/>
                  </a:schemeClr>
                </a:solidFill>
                <a:latin typeface="Open Sans" pitchFamily="2" charset="0"/>
              </a:rPr>
              <a:t> </a:t>
            </a:r>
          </a:p>
          <a:p>
            <a:endParaRPr lang="en-US" sz="2400" dirty="0"/>
          </a:p>
        </p:txBody>
      </p:sp>
    </p:spTree>
    <p:extLst>
      <p:ext uri="{BB962C8B-B14F-4D97-AF65-F5344CB8AC3E}">
        <p14:creationId xmlns:p14="http://schemas.microsoft.com/office/powerpoint/2010/main" val="316712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3AC0-D5E0-6067-F0A6-F220EC078E77}"/>
              </a:ext>
            </a:extLst>
          </p:cNvPr>
          <p:cNvSpPr>
            <a:spLocks noGrp="1"/>
          </p:cNvSpPr>
          <p:nvPr>
            <p:ph type="title"/>
          </p:nvPr>
        </p:nvSpPr>
        <p:spPr/>
        <p:txBody>
          <a:bodyPr/>
          <a:lstStyle/>
          <a:p>
            <a:br>
              <a:rPr lang="en-GB" dirty="0"/>
            </a:br>
            <a:br>
              <a:rPr lang="en-GB" dirty="0"/>
            </a:br>
            <a:br>
              <a:rPr lang="en-GB" dirty="0"/>
            </a:br>
            <a:br>
              <a:rPr lang="en-GB" dirty="0"/>
            </a:br>
            <a:br>
              <a:rPr lang="en-GB" dirty="0"/>
            </a:br>
            <a:br>
              <a:rPr lang="en-GB" dirty="0"/>
            </a:br>
            <a:r>
              <a:rPr lang="en-GB" dirty="0"/>
              <a:t>Research Questions</a:t>
            </a:r>
          </a:p>
        </p:txBody>
      </p:sp>
      <p:sp>
        <p:nvSpPr>
          <p:cNvPr id="3" name="TextBox 2">
            <a:extLst>
              <a:ext uri="{FF2B5EF4-FFF2-40B4-BE49-F238E27FC236}">
                <a16:creationId xmlns:a16="http://schemas.microsoft.com/office/drawing/2014/main" id="{9944A39F-D474-3D46-B104-F3691ADCE64F}"/>
              </a:ext>
            </a:extLst>
          </p:cNvPr>
          <p:cNvSpPr txBox="1"/>
          <p:nvPr/>
        </p:nvSpPr>
        <p:spPr>
          <a:xfrm>
            <a:off x="6455392" y="409440"/>
            <a:ext cx="5736608" cy="63325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GB" sz="2000" dirty="0">
                <a:solidFill>
                  <a:schemeClr val="accent1">
                    <a:lumMod val="90000"/>
                    <a:lumOff val="10000"/>
                  </a:schemeClr>
                </a:solidFill>
              </a:rPr>
              <a:t>RQ1. What is the </a:t>
            </a:r>
            <a:r>
              <a:rPr lang="en-GB" sz="2000" b="1" dirty="0">
                <a:solidFill>
                  <a:schemeClr val="accent1">
                    <a:lumMod val="90000"/>
                    <a:lumOff val="10000"/>
                  </a:schemeClr>
                </a:solidFill>
              </a:rPr>
              <a:t>purpose</a:t>
            </a:r>
            <a:r>
              <a:rPr lang="en-GB" sz="2000" dirty="0">
                <a:solidFill>
                  <a:schemeClr val="accent1">
                    <a:lumMod val="90000"/>
                    <a:lumOff val="10000"/>
                  </a:schemeClr>
                </a:solidFill>
              </a:rPr>
              <a:t> of policy in this area (curriculum/accountability/special educational needs)?  </a:t>
            </a:r>
          </a:p>
          <a:p>
            <a:endParaRPr lang="en-GB" sz="2000" dirty="0">
              <a:solidFill>
                <a:schemeClr val="accent1">
                  <a:lumMod val="90000"/>
                  <a:lumOff val="10000"/>
                </a:schemeClr>
              </a:solidFill>
            </a:endParaRPr>
          </a:p>
          <a:p>
            <a:r>
              <a:rPr lang="en-GB" sz="2000" dirty="0">
                <a:solidFill>
                  <a:schemeClr val="accent1">
                    <a:lumMod val="90000"/>
                    <a:lumOff val="10000"/>
                  </a:schemeClr>
                </a:solidFill>
              </a:rPr>
              <a:t>RQ2. What is the </a:t>
            </a:r>
            <a:r>
              <a:rPr lang="en-GB" sz="2000" b="1" dirty="0">
                <a:solidFill>
                  <a:schemeClr val="accent1">
                    <a:lumMod val="90000"/>
                    <a:lumOff val="10000"/>
                  </a:schemeClr>
                </a:solidFill>
              </a:rPr>
              <a:t>structure</a:t>
            </a:r>
            <a:r>
              <a:rPr lang="en-GB" sz="2000" dirty="0">
                <a:solidFill>
                  <a:schemeClr val="accent1">
                    <a:lumMod val="90000"/>
                    <a:lumOff val="10000"/>
                  </a:schemeClr>
                </a:solidFill>
              </a:rPr>
              <a:t> of policy in this area? </a:t>
            </a:r>
          </a:p>
          <a:p>
            <a:endParaRPr lang="en-GB" sz="2000" dirty="0">
              <a:solidFill>
                <a:schemeClr val="accent1">
                  <a:lumMod val="90000"/>
                  <a:lumOff val="10000"/>
                </a:schemeClr>
              </a:solidFill>
            </a:endParaRPr>
          </a:p>
          <a:p>
            <a:r>
              <a:rPr lang="en-GB" sz="2000" dirty="0">
                <a:solidFill>
                  <a:schemeClr val="accent1">
                    <a:lumMod val="90000"/>
                    <a:lumOff val="10000"/>
                  </a:schemeClr>
                </a:solidFill>
              </a:rPr>
              <a:t>RQ3: How is policy in this area </a:t>
            </a:r>
            <a:r>
              <a:rPr lang="en-GB" sz="2000" b="1" dirty="0">
                <a:solidFill>
                  <a:schemeClr val="accent1">
                    <a:lumMod val="90000"/>
                    <a:lumOff val="10000"/>
                  </a:schemeClr>
                </a:solidFill>
              </a:rPr>
              <a:t>made</a:t>
            </a:r>
            <a:r>
              <a:rPr lang="en-GB" sz="2000" dirty="0">
                <a:solidFill>
                  <a:schemeClr val="accent1">
                    <a:lumMod val="90000"/>
                    <a:lumOff val="10000"/>
                  </a:schemeClr>
                </a:solidFill>
              </a:rPr>
              <a:t> and introduced? </a:t>
            </a:r>
          </a:p>
          <a:p>
            <a:endParaRPr lang="en-GB" sz="2000" dirty="0">
              <a:solidFill>
                <a:schemeClr val="accent1">
                  <a:lumMod val="90000"/>
                  <a:lumOff val="10000"/>
                </a:schemeClr>
              </a:solidFill>
            </a:endParaRPr>
          </a:p>
          <a:p>
            <a:r>
              <a:rPr lang="en-GB" sz="2000" dirty="0">
                <a:solidFill>
                  <a:schemeClr val="accent1">
                    <a:lumMod val="90000"/>
                    <a:lumOff val="10000"/>
                  </a:schemeClr>
                </a:solidFill>
              </a:rPr>
              <a:t>RQ4: How is accountability policy in this area </a:t>
            </a:r>
            <a:r>
              <a:rPr lang="en-GB" sz="2000" b="1" dirty="0">
                <a:solidFill>
                  <a:schemeClr val="accent1">
                    <a:lumMod val="90000"/>
                    <a:lumOff val="10000"/>
                  </a:schemeClr>
                </a:solidFill>
              </a:rPr>
              <a:t>evaluated</a:t>
            </a:r>
            <a:r>
              <a:rPr lang="en-GB" sz="2000" dirty="0">
                <a:solidFill>
                  <a:schemeClr val="accent1">
                    <a:lumMod val="90000"/>
                    <a:lumOff val="10000"/>
                  </a:schemeClr>
                </a:solidFill>
              </a:rPr>
              <a:t>? </a:t>
            </a:r>
          </a:p>
          <a:p>
            <a:endParaRPr lang="en-GB" sz="2000" dirty="0">
              <a:solidFill>
                <a:schemeClr val="accent1">
                  <a:lumMod val="90000"/>
                  <a:lumOff val="10000"/>
                </a:schemeClr>
              </a:solidFill>
            </a:endParaRPr>
          </a:p>
          <a:p>
            <a:r>
              <a:rPr lang="en-GB" sz="2000" dirty="0">
                <a:solidFill>
                  <a:schemeClr val="accent1">
                    <a:lumMod val="90000"/>
                    <a:lumOff val="10000"/>
                  </a:schemeClr>
                </a:solidFill>
              </a:rPr>
              <a:t>RQ5: How does </a:t>
            </a:r>
            <a:r>
              <a:rPr lang="en-GB" sz="2000" b="1" dirty="0">
                <a:solidFill>
                  <a:schemeClr val="accent1">
                    <a:lumMod val="90000"/>
                    <a:lumOff val="10000"/>
                  </a:schemeClr>
                </a:solidFill>
              </a:rPr>
              <a:t>context</a:t>
            </a:r>
            <a:r>
              <a:rPr lang="en-GB" sz="2000" dirty="0">
                <a:solidFill>
                  <a:schemeClr val="accent1">
                    <a:lumMod val="90000"/>
                    <a:lumOff val="10000"/>
                  </a:schemeClr>
                </a:solidFill>
              </a:rPr>
              <a:t> shape policy and reform in this area? </a:t>
            </a:r>
          </a:p>
          <a:p>
            <a:endParaRPr lang="en-GB" sz="2000" dirty="0">
              <a:solidFill>
                <a:schemeClr val="accent1">
                  <a:lumMod val="90000"/>
                  <a:lumOff val="10000"/>
                </a:schemeClr>
              </a:solidFill>
            </a:endParaRPr>
          </a:p>
          <a:p>
            <a:r>
              <a:rPr lang="en-GB" sz="2000" dirty="0">
                <a:solidFill>
                  <a:schemeClr val="accent1">
                    <a:lumMod val="90000"/>
                    <a:lumOff val="10000"/>
                  </a:schemeClr>
                </a:solidFill>
              </a:rPr>
              <a:t>RQ6: What is the evidence about the </a:t>
            </a:r>
            <a:r>
              <a:rPr lang="en-GB" sz="2000" b="1" dirty="0">
                <a:solidFill>
                  <a:schemeClr val="accent1">
                    <a:lumMod val="90000"/>
                    <a:lumOff val="10000"/>
                  </a:schemeClr>
                </a:solidFill>
              </a:rPr>
              <a:t>effects</a:t>
            </a:r>
            <a:r>
              <a:rPr lang="en-GB" sz="2000" dirty="0">
                <a:solidFill>
                  <a:schemeClr val="accent1">
                    <a:lumMod val="90000"/>
                    <a:lumOff val="10000"/>
                  </a:schemeClr>
                </a:solidFill>
              </a:rPr>
              <a:t> of the policy in this area? </a:t>
            </a:r>
          </a:p>
          <a:p>
            <a:pPr algn="ctr"/>
            <a:endParaRPr lang="en-GB" sz="2000" dirty="0">
              <a:solidFill>
                <a:schemeClr val="accent1">
                  <a:lumMod val="90000"/>
                  <a:lumOff val="10000"/>
                </a:schemeClr>
              </a:solidFill>
            </a:endParaRPr>
          </a:p>
        </p:txBody>
      </p:sp>
    </p:spTree>
    <p:extLst>
      <p:ext uri="{BB962C8B-B14F-4D97-AF65-F5344CB8AC3E}">
        <p14:creationId xmlns:p14="http://schemas.microsoft.com/office/powerpoint/2010/main" val="1888378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FEF83-E598-9E44-F09A-9DFF909A93F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FD532D-398C-EC6F-A0C4-CF3F1CF9ED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E7FD532D-398C-EC6F-A0C4-CF3F1CF9ED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ight Triangle 45">
            <a:extLst>
              <a:ext uri="{FF2B5EF4-FFF2-40B4-BE49-F238E27FC236}">
                <a16:creationId xmlns:a16="http://schemas.microsoft.com/office/drawing/2014/main" id="{E614B4E5-89E6-873E-8870-91E50DF19943}"/>
              </a:ext>
            </a:extLst>
          </p:cNvPr>
          <p:cNvSpPr/>
          <p:nvPr/>
        </p:nvSpPr>
        <p:spPr>
          <a:xfrm>
            <a:off x="3255914" y="1241520"/>
            <a:ext cx="80211" cy="105407"/>
          </a:xfrm>
          <a:prstGeom prst="rtTriangle">
            <a:avLst/>
          </a:prstGeom>
          <a:solidFill>
            <a:srgbClr val="9A9A9A"/>
          </a:solidFill>
          <a:ln w="1905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7" name="Right Triangle 136">
            <a:extLst>
              <a:ext uri="{FF2B5EF4-FFF2-40B4-BE49-F238E27FC236}">
                <a16:creationId xmlns:a16="http://schemas.microsoft.com/office/drawing/2014/main" id="{82C94668-840D-8152-FC17-3819D4CD6EDF}"/>
              </a:ext>
            </a:extLst>
          </p:cNvPr>
          <p:cNvSpPr/>
          <p:nvPr/>
        </p:nvSpPr>
        <p:spPr>
          <a:xfrm>
            <a:off x="6112862" y="1241520"/>
            <a:ext cx="80211" cy="105407"/>
          </a:xfrm>
          <a:prstGeom prst="rtTriangle">
            <a:avLst/>
          </a:prstGeom>
          <a:solidFill>
            <a:srgbClr val="9A9A9A"/>
          </a:solidFill>
          <a:ln w="1905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FE393829-48C3-E6D4-C3EB-6FB168A97BEA}"/>
              </a:ext>
            </a:extLst>
          </p:cNvPr>
          <p:cNvSpPr>
            <a:spLocks noGrp="1"/>
          </p:cNvSpPr>
          <p:nvPr>
            <p:ph type="title"/>
          </p:nvPr>
        </p:nvSpPr>
        <p:spPr>
          <a:xfrm>
            <a:off x="587905" y="220911"/>
            <a:ext cx="9134328" cy="625231"/>
          </a:xfrm>
        </p:spPr>
        <p:txBody>
          <a:bodyPr vert="horz"/>
          <a:lstStyle/>
          <a:p>
            <a:r>
              <a:rPr lang="en-GB" dirty="0">
                <a:solidFill>
                  <a:srgbClr val="10C4C8"/>
                </a:solidFill>
              </a:rPr>
              <a:t>ACCOUNTABILITY | </a:t>
            </a:r>
            <a:r>
              <a:rPr lang="en-GB" dirty="0"/>
              <a:t>Policies are generally designed to realise a combination of 6 core aims</a:t>
            </a:r>
            <a:endParaRPr lang="en-US" dirty="0"/>
          </a:p>
        </p:txBody>
      </p:sp>
      <p:sp>
        <p:nvSpPr>
          <p:cNvPr id="55" name="Rectangle 54">
            <a:extLst>
              <a:ext uri="{FF2B5EF4-FFF2-40B4-BE49-F238E27FC236}">
                <a16:creationId xmlns:a16="http://schemas.microsoft.com/office/drawing/2014/main" id="{6A5C3F09-DE53-48A3-7D8D-3675ABFFFC60}"/>
              </a:ext>
            </a:extLst>
          </p:cNvPr>
          <p:cNvSpPr/>
          <p:nvPr/>
        </p:nvSpPr>
        <p:spPr>
          <a:xfrm>
            <a:off x="630000" y="2012674"/>
            <a:ext cx="1872647" cy="1956255"/>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21208" tIns="27432" rIns="0" bIns="27432" numCol="1" spcCol="0" rtlCol="0" fromWordArt="0" anchor="ctr" anchorCtr="0" forceAA="0" compatLnSpc="1">
            <a:prstTxWarp prst="textNoShape">
              <a:avLst/>
            </a:prstTxWarp>
            <a:noAutofit/>
          </a:bodyPr>
          <a:lstStyle/>
          <a:p>
            <a:r>
              <a:rPr lang="en-US" sz="1400" dirty="0">
                <a:solidFill>
                  <a:srgbClr val="FFFFFF"/>
                </a:solidFill>
              </a:rPr>
              <a:t>Fairness and inclusion</a:t>
            </a:r>
          </a:p>
        </p:txBody>
      </p:sp>
      <p:sp>
        <p:nvSpPr>
          <p:cNvPr id="57" name="Rectangle 56">
            <a:extLst>
              <a:ext uri="{FF2B5EF4-FFF2-40B4-BE49-F238E27FC236}">
                <a16:creationId xmlns:a16="http://schemas.microsoft.com/office/drawing/2014/main" id="{0EB06126-99EB-BBB0-371D-D4F24AC7DFEF}"/>
              </a:ext>
            </a:extLst>
          </p:cNvPr>
          <p:cNvSpPr/>
          <p:nvPr/>
        </p:nvSpPr>
        <p:spPr>
          <a:xfrm>
            <a:off x="630000" y="4038479"/>
            <a:ext cx="1872647" cy="1533697"/>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21208" tIns="27432" rIns="0" bIns="27432" numCol="1" spcCol="0" rtlCol="0" fromWordArt="0" anchor="ctr" anchorCtr="0" forceAA="0" compatLnSpc="1">
            <a:prstTxWarp prst="textNoShape">
              <a:avLst/>
            </a:prstTxWarp>
            <a:noAutofit/>
          </a:bodyPr>
          <a:lstStyle/>
          <a:p>
            <a:r>
              <a:rPr lang="en-US" sz="1400" dirty="0">
                <a:solidFill>
                  <a:srgbClr val="FFFFFF"/>
                </a:solidFill>
              </a:rPr>
              <a:t>Governance &amp; Transparency</a:t>
            </a:r>
          </a:p>
        </p:txBody>
      </p:sp>
      <p:sp>
        <p:nvSpPr>
          <p:cNvPr id="58" name="Rectangle 57">
            <a:extLst>
              <a:ext uri="{FF2B5EF4-FFF2-40B4-BE49-F238E27FC236}">
                <a16:creationId xmlns:a16="http://schemas.microsoft.com/office/drawing/2014/main" id="{DF939633-06AF-D170-B579-36EC984786D4}"/>
              </a:ext>
            </a:extLst>
          </p:cNvPr>
          <p:cNvSpPr/>
          <p:nvPr/>
        </p:nvSpPr>
        <p:spPr>
          <a:xfrm>
            <a:off x="630000" y="5641728"/>
            <a:ext cx="1872647" cy="513864"/>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21208" tIns="27432" rIns="0" bIns="27432" numCol="1" spcCol="0" rtlCol="0" fromWordArt="0" anchor="ctr" anchorCtr="0" forceAA="0" compatLnSpc="1">
            <a:prstTxWarp prst="textNoShape">
              <a:avLst/>
            </a:prstTxWarp>
            <a:noAutofit/>
          </a:bodyPr>
          <a:lstStyle/>
          <a:p>
            <a:r>
              <a:rPr lang="en-US" sz="1400" dirty="0">
                <a:solidFill>
                  <a:srgbClr val="FFFFFF"/>
                </a:solidFill>
              </a:rPr>
              <a:t>Outcomes &amp; Performance </a:t>
            </a:r>
          </a:p>
        </p:txBody>
      </p:sp>
      <p:sp>
        <p:nvSpPr>
          <p:cNvPr id="60" name="Rectangle 59">
            <a:extLst>
              <a:ext uri="{FF2B5EF4-FFF2-40B4-BE49-F238E27FC236}">
                <a16:creationId xmlns:a16="http://schemas.microsoft.com/office/drawing/2014/main" id="{6F9B329F-74E5-DF1B-23BC-5EFA4C9411D7}"/>
              </a:ext>
            </a:extLst>
          </p:cNvPr>
          <p:cNvSpPr/>
          <p:nvPr/>
        </p:nvSpPr>
        <p:spPr>
          <a:xfrm flipH="1">
            <a:off x="628650" y="2012674"/>
            <a:ext cx="461918" cy="1956255"/>
          </a:xfrm>
          <a:prstGeom prst="rect">
            <a:avLst/>
          </a:prstGeom>
          <a:solidFill>
            <a:srgbClr val="000000"/>
          </a:solidFill>
          <a:ln w="9525" cap="rnd" cmpd="sng" algn="ctr">
            <a:solidFill>
              <a:srgbClr val="00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a:extLst>
              <a:ext uri="{FF2B5EF4-FFF2-40B4-BE49-F238E27FC236}">
                <a16:creationId xmlns:a16="http://schemas.microsoft.com/office/drawing/2014/main" id="{45327042-C76E-83BE-42B9-3F7FF149F74F}"/>
              </a:ext>
            </a:extLst>
          </p:cNvPr>
          <p:cNvSpPr/>
          <p:nvPr/>
        </p:nvSpPr>
        <p:spPr>
          <a:xfrm flipH="1">
            <a:off x="628650" y="4038479"/>
            <a:ext cx="461918" cy="1533697"/>
          </a:xfrm>
          <a:prstGeom prst="rect">
            <a:avLst/>
          </a:prstGeom>
          <a:solidFill>
            <a:srgbClr val="000000"/>
          </a:solidFill>
          <a:ln w="9525" cap="rnd" cmpd="sng" algn="ctr">
            <a:solidFill>
              <a:srgbClr val="00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Rectangle 65">
            <a:extLst>
              <a:ext uri="{FF2B5EF4-FFF2-40B4-BE49-F238E27FC236}">
                <a16:creationId xmlns:a16="http://schemas.microsoft.com/office/drawing/2014/main" id="{B1230590-5A48-2DB4-AAB0-E90739A65AC0}"/>
              </a:ext>
            </a:extLst>
          </p:cNvPr>
          <p:cNvSpPr/>
          <p:nvPr/>
        </p:nvSpPr>
        <p:spPr>
          <a:xfrm flipH="1">
            <a:off x="628650" y="5641728"/>
            <a:ext cx="461918" cy="513864"/>
          </a:xfrm>
          <a:prstGeom prst="rect">
            <a:avLst/>
          </a:prstGeom>
          <a:solidFill>
            <a:srgbClr val="000000"/>
          </a:solidFill>
          <a:ln w="9525" cap="rnd" cmpd="sng" algn="ctr">
            <a:solidFill>
              <a:srgbClr val="00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6" name="Group 15">
            <a:extLst>
              <a:ext uri="{FF2B5EF4-FFF2-40B4-BE49-F238E27FC236}">
                <a16:creationId xmlns:a16="http://schemas.microsoft.com/office/drawing/2014/main" id="{8DCCF6B7-F980-9E25-5487-37315556D8D7}"/>
              </a:ext>
            </a:extLst>
          </p:cNvPr>
          <p:cNvGrpSpPr/>
          <p:nvPr/>
        </p:nvGrpSpPr>
        <p:grpSpPr>
          <a:xfrm>
            <a:off x="2502646" y="1359636"/>
            <a:ext cx="9060703" cy="653038"/>
            <a:chOff x="2281184" y="1473936"/>
            <a:chExt cx="9281416" cy="457200"/>
          </a:xfrm>
        </p:grpSpPr>
        <p:sp>
          <p:nvSpPr>
            <p:cNvPr id="7" name="Rectangle 6">
              <a:extLst>
                <a:ext uri="{FF2B5EF4-FFF2-40B4-BE49-F238E27FC236}">
                  <a16:creationId xmlns:a16="http://schemas.microsoft.com/office/drawing/2014/main" id="{D4EB0DA1-FD71-B861-4535-477CB70B3947}"/>
                </a:ext>
              </a:extLst>
            </p:cNvPr>
            <p:cNvSpPr/>
            <p:nvPr/>
          </p:nvSpPr>
          <p:spPr>
            <a:xfrm>
              <a:off x="2281184" y="1473936"/>
              <a:ext cx="2900416" cy="457200"/>
            </a:xfrm>
            <a:prstGeom prst="rect">
              <a:avLst/>
            </a:prstGeom>
            <a:solidFill>
              <a:schemeClr val="tx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27432" rIns="27432" bIns="27432" numCol="1" spcCol="0" rtlCol="0" fromWordArt="0" anchor="ctr" anchorCtr="0" forceAA="0" compatLnSpc="1">
              <a:prstTxWarp prst="textNoShape">
                <a:avLst/>
              </a:prstTxWarp>
              <a:noAutofit/>
            </a:bodyPr>
            <a:lstStyle/>
            <a:p>
              <a:pPr>
                <a:spcBef>
                  <a:spcPct val="0"/>
                </a:spcBef>
                <a:spcAft>
                  <a:spcPct val="0"/>
                </a:spcAft>
              </a:pPr>
              <a:endParaRPr lang="en-US" dirty="0">
                <a:solidFill>
                  <a:srgbClr val="FFFFFF"/>
                </a:solidFill>
              </a:endParaRPr>
            </a:p>
          </p:txBody>
        </p:sp>
        <p:sp>
          <p:nvSpPr>
            <p:cNvPr id="8" name="Rectangle 7">
              <a:extLst>
                <a:ext uri="{FF2B5EF4-FFF2-40B4-BE49-F238E27FC236}">
                  <a16:creationId xmlns:a16="http://schemas.microsoft.com/office/drawing/2014/main" id="{AFA7766E-51FD-43DF-7B10-667EEDF0BBE3}"/>
                </a:ext>
              </a:extLst>
            </p:cNvPr>
            <p:cNvSpPr/>
            <p:nvPr/>
          </p:nvSpPr>
          <p:spPr>
            <a:xfrm>
              <a:off x="5233851" y="1473936"/>
              <a:ext cx="6328749" cy="457200"/>
            </a:xfrm>
            <a:prstGeom prst="rect">
              <a:avLst/>
            </a:prstGeom>
            <a:solidFill>
              <a:schemeClr val="tx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27432" rIns="27432" bIns="27432" numCol="1" spcCol="0" rtlCol="0" fromWordArt="0" anchor="ctr" anchorCtr="0" forceAA="0" compatLnSpc="1">
              <a:prstTxWarp prst="textNoShape">
                <a:avLst/>
              </a:prstTxWarp>
              <a:noAutofit/>
            </a:bodyPr>
            <a:lstStyle/>
            <a:p>
              <a:pPr>
                <a:spcBef>
                  <a:spcPct val="0"/>
                </a:spcBef>
                <a:spcAft>
                  <a:spcPct val="0"/>
                </a:spcAft>
              </a:pPr>
              <a:endParaRPr lang="en-US" dirty="0">
                <a:solidFill>
                  <a:srgbClr val="FFFFFF"/>
                </a:solidFill>
              </a:endParaRPr>
            </a:p>
          </p:txBody>
        </p:sp>
      </p:grpSp>
      <p:graphicFrame>
        <p:nvGraphicFramePr>
          <p:cNvPr id="150" name="Table 149">
            <a:extLst>
              <a:ext uri="{FF2B5EF4-FFF2-40B4-BE49-F238E27FC236}">
                <a16:creationId xmlns:a16="http://schemas.microsoft.com/office/drawing/2014/main" id="{87B00FA3-F3F5-90CF-ADA0-966160CFA6B7}"/>
              </a:ext>
            </a:extLst>
          </p:cNvPr>
          <p:cNvGraphicFramePr>
            <a:graphicFrameLocks noGrp="1"/>
          </p:cNvGraphicFramePr>
          <p:nvPr/>
        </p:nvGraphicFramePr>
        <p:xfrm>
          <a:off x="2502646" y="1360590"/>
          <a:ext cx="9060703" cy="4795002"/>
        </p:xfrm>
        <a:graphic>
          <a:graphicData uri="http://schemas.openxmlformats.org/drawingml/2006/table">
            <a:tbl>
              <a:tblPr firstRow="1">
                <a:tableStyleId>{2D5ABB26-0587-4C30-8999-92F81FD0307C}</a:tableStyleId>
              </a:tblPr>
              <a:tblGrid>
                <a:gridCol w="2856948">
                  <a:extLst>
                    <a:ext uri="{9D8B030D-6E8A-4147-A177-3AD203B41FA5}">
                      <a16:colId xmlns:a16="http://schemas.microsoft.com/office/drawing/2014/main" val="795447460"/>
                    </a:ext>
                  </a:extLst>
                </a:gridCol>
                <a:gridCol w="6203755">
                  <a:extLst>
                    <a:ext uri="{9D8B030D-6E8A-4147-A177-3AD203B41FA5}">
                      <a16:colId xmlns:a16="http://schemas.microsoft.com/office/drawing/2014/main" val="3048066781"/>
                    </a:ext>
                  </a:extLst>
                </a:gridCol>
              </a:tblGrid>
              <a:tr h="652084">
                <a:tc>
                  <a:txBody>
                    <a:bodyPr/>
                    <a:lstStyle/>
                    <a:p>
                      <a:pPr marL="0" lvl="0" indent="0" algn="l" rtl="0" fontAlgn="base" hangingPunct="1">
                        <a:lnSpc>
                          <a:spcPct val="100000"/>
                        </a:lnSpc>
                        <a:spcBef>
                          <a:spcPct val="0"/>
                        </a:spcBef>
                        <a:spcAft>
                          <a:spcPct val="0"/>
                        </a:spcAft>
                      </a:pPr>
                      <a:r>
                        <a:rPr lang="en-US" sz="1800" b="0" i="0" u="none" dirty="0">
                          <a:solidFill>
                            <a:srgbClr val="FFFFFF"/>
                          </a:solidFill>
                          <a:latin typeface="+mn-lt"/>
                        </a:rPr>
                        <a:t>Aim to promote</a:t>
                      </a:r>
                    </a:p>
                  </a:txBody>
                  <a:tcPr marL="914400" marR="27432" marT="27432" marB="27432" anchor="ctr">
                    <a:lnB w="9525" cap="flat" cmpd="sng" algn="ctr">
                      <a:noFill/>
                      <a:prstDash val="sysDot"/>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800" b="0" i="0" u="none" dirty="0">
                          <a:solidFill>
                            <a:srgbClr val="FFFFFF"/>
                          </a:solidFill>
                          <a:latin typeface="+mn-lt"/>
                        </a:rPr>
                        <a:t>Definition </a:t>
                      </a:r>
                      <a:r>
                        <a:rPr lang="en-US" sz="1400" b="0" i="1" u="none" dirty="0">
                          <a:solidFill>
                            <a:srgbClr val="FFFFFF"/>
                          </a:solidFill>
                          <a:latin typeface="+mn-lt"/>
                        </a:rPr>
                        <a:t>(Accountability policies are designed to ..)</a:t>
                      </a:r>
                      <a:endParaRPr lang="en-US" sz="1800" b="0" i="1" u="none" dirty="0">
                        <a:solidFill>
                          <a:srgbClr val="FFFFFF"/>
                        </a:solidFill>
                        <a:latin typeface="+mn-lt"/>
                      </a:endParaRPr>
                    </a:p>
                  </a:txBody>
                  <a:tcPr marL="914400" marR="27432" marT="27432" marB="27432" anchor="ctr">
                    <a:lnB w="9525" cap="flat" cmpd="sng" algn="ctr">
                      <a:noFill/>
                      <a:prstDash val="sysDot"/>
                      <a:round/>
                      <a:headEnd type="none" w="med" len="med"/>
                      <a:tailEnd type="none" w="med" len="med"/>
                    </a:lnB>
                  </a:tcPr>
                </a:tc>
                <a:extLst>
                  <a:ext uri="{0D108BD9-81ED-4DB2-BD59-A6C34878D82A}">
                    <a16:rowId xmlns:a16="http://schemas.microsoft.com/office/drawing/2014/main" val="1450205408"/>
                  </a:ext>
                </a:extLst>
              </a:tr>
              <a:tr h="686862">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Equity &amp; Inclusion</a:t>
                      </a:r>
                    </a:p>
                  </a:txBody>
                  <a:tcPr marR="27432" marT="27432" marB="27432" anchor="ctr">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0" u="none" dirty="0">
                          <a:solidFill>
                            <a:srgbClr val="145164"/>
                          </a:solidFill>
                          <a:latin typeface="+mn-lt"/>
                        </a:rPr>
                        <a:t>Promote fair access </a:t>
                      </a:r>
                      <a:r>
                        <a:rPr lang="en-GB" sz="1400" b="0" i="0" u="none" dirty="0">
                          <a:latin typeface="+mn-lt"/>
                        </a:rPr>
                        <a:t>for all </a:t>
                      </a:r>
                      <a:r>
                        <a:rPr lang="en-GB" sz="1400" b="0" i="0" u="none" dirty="0">
                          <a:solidFill>
                            <a:schemeClr val="tx1"/>
                          </a:solidFill>
                          <a:latin typeface="+mn-lt"/>
                        </a:rPr>
                        <a:t>learners, regardless of background or ability </a:t>
                      </a:r>
                    </a:p>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1" u="none" dirty="0">
                          <a:solidFill>
                            <a:schemeClr val="accent5"/>
                          </a:solidFill>
                          <a:latin typeface="+mn-lt"/>
                        </a:rPr>
                        <a:t>(e.g Mandating anti-racism measures, support for special education needs etc.) </a:t>
                      </a:r>
                      <a:endParaRPr lang="en-US" sz="1400" b="0" i="1" u="none" dirty="0">
                        <a:solidFill>
                          <a:schemeClr val="accent5"/>
                        </a:solidFill>
                        <a:latin typeface="+mn-lt"/>
                      </a:endParaRPr>
                    </a:p>
                  </a:txBody>
                  <a:tcPr marL="27432" marR="27432" marT="27432" marB="27432" anchor="ctr">
                    <a:lnL w="9525" cap="flat" cmpd="sng" algn="ctr">
                      <a:noFill/>
                      <a:prstDash val="sysDot"/>
                      <a:round/>
                      <a:headEnd type="none" w="med" len="med"/>
                      <a:tailEnd type="none" w="med" len="med"/>
                    </a:lnL>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2040977020"/>
                  </a:ext>
                </a:extLst>
              </a:tr>
              <a:tr h="652084">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Wellbeing</a:t>
                      </a:r>
                    </a:p>
                  </a:txBody>
                  <a:tcPr marR="27432" marT="27432" marB="27432" anchor="ctr">
                    <a:lnR w="9525" cap="flat" cmpd="sng" algn="ctr">
                      <a:noFill/>
                      <a:prstDash val="sys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0" u="none" dirty="0">
                          <a:latin typeface="+mn-lt"/>
                        </a:rPr>
                        <a:t>Support the </a:t>
                      </a:r>
                      <a:r>
                        <a:rPr lang="en-GB" sz="1400" b="0" i="0" u="none" dirty="0">
                          <a:solidFill>
                            <a:srgbClr val="145164"/>
                          </a:solidFill>
                          <a:latin typeface="+mn-lt"/>
                        </a:rPr>
                        <a:t>emotional, social, and physical welfare </a:t>
                      </a:r>
                      <a:r>
                        <a:rPr lang="en-GB" sz="1400" b="0" i="0" u="none" dirty="0">
                          <a:latin typeface="+mn-lt"/>
                        </a:rPr>
                        <a:t>of students and staff</a:t>
                      </a:r>
                    </a:p>
                    <a:p>
                      <a:pPr marL="0" marR="0" lvl="0" indent="0" algn="l" defTabSz="914400" rtl="0" eaLnBrk="1" fontAlgn="auto" latinLnBrk="0" hangingPunct="1">
                        <a:lnSpc>
                          <a:spcPct val="100000"/>
                        </a:lnSpc>
                        <a:spcBef>
                          <a:spcPts val="0"/>
                        </a:spcBef>
                        <a:spcAft>
                          <a:spcPts val="0"/>
                        </a:spcAft>
                        <a:buClr>
                          <a:srgbClr val="145164"/>
                        </a:buClr>
                        <a:buSzTx/>
                        <a:buFont typeface="Trebuchet MS" panose="020B0603020202020204" pitchFamily="34" charset="0"/>
                        <a:buChar char="​"/>
                        <a:tabLst/>
                        <a:defRPr/>
                      </a:pPr>
                      <a:r>
                        <a:rPr lang="en-GB" sz="1400" b="0" i="1" u="none" dirty="0">
                          <a:solidFill>
                            <a:schemeClr val="accent5"/>
                          </a:solidFill>
                          <a:latin typeface="+mn-lt"/>
                        </a:rPr>
                        <a:t>(e.g Reporting on measures related to student engagement, mental health etc) </a:t>
                      </a:r>
                      <a:endParaRPr lang="en-US" sz="1400" b="0" i="0" u="none" dirty="0">
                        <a:solidFill>
                          <a:schemeClr val="accent5"/>
                        </a:solidFill>
                        <a:latin typeface="+mn-lt"/>
                      </a:endParaRPr>
                    </a:p>
                  </a:txBody>
                  <a:tcPr marL="27432" marR="27432" marT="27432" marB="27432" anchor="ctr">
                    <a:lnL w="9525" cap="flat" cmpd="sng" algn="ctr">
                      <a:noFill/>
                      <a:prstDash val="sysDot"/>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996475283"/>
                  </a:ext>
                </a:extLst>
              </a:tr>
              <a:tr h="652084">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Cultural identity &amp; affirmation</a:t>
                      </a:r>
                    </a:p>
                  </a:txBody>
                  <a:tcPr marR="27432" marT="27432" marB="27432" anchor="ctr">
                    <a:lnR w="9525" cap="flat" cmpd="sng" algn="ctr">
                      <a:noFill/>
                      <a:prstDash val="sys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0" u="none" dirty="0">
                          <a:latin typeface="+mn-lt"/>
                        </a:rPr>
                        <a:t>Reflect and </a:t>
                      </a:r>
                      <a:r>
                        <a:rPr lang="en-GB" sz="1400" b="0" i="0" u="none" dirty="0">
                          <a:solidFill>
                            <a:srgbClr val="145164"/>
                          </a:solidFill>
                          <a:latin typeface="+mn-lt"/>
                        </a:rPr>
                        <a:t>protect customs and local identities</a:t>
                      </a:r>
                    </a:p>
                    <a:p>
                      <a:pPr marL="0" marR="0" lvl="0" indent="0" algn="l" defTabSz="914400" rtl="0" eaLnBrk="1" fontAlgn="auto" latinLnBrk="0" hangingPunct="1">
                        <a:lnSpc>
                          <a:spcPct val="100000"/>
                        </a:lnSpc>
                        <a:spcBef>
                          <a:spcPts val="0"/>
                        </a:spcBef>
                        <a:spcAft>
                          <a:spcPts val="0"/>
                        </a:spcAft>
                        <a:buClr>
                          <a:srgbClr val="145164"/>
                        </a:buClr>
                        <a:buSzTx/>
                        <a:buFont typeface="Trebuchet MS" panose="020B0603020202020204" pitchFamily="34" charset="0"/>
                        <a:buNone/>
                        <a:tabLst/>
                        <a:defRPr/>
                      </a:pPr>
                      <a:r>
                        <a:rPr lang="en-GB" sz="1400" b="0" i="1" u="none" dirty="0">
                          <a:solidFill>
                            <a:schemeClr val="accent5"/>
                          </a:solidFill>
                          <a:latin typeface="+mn-lt"/>
                        </a:rPr>
                        <a:t>(e.g  </a:t>
                      </a:r>
                      <a:r>
                        <a:rPr lang="en-GB" sz="1400" b="0" i="1" u="none" kern="1200" dirty="0">
                          <a:solidFill>
                            <a:schemeClr val="accent5"/>
                          </a:solidFill>
                          <a:latin typeface="+mn-lt"/>
                          <a:ea typeface="+mn-ea"/>
                          <a:cs typeface="+mn-cs"/>
                        </a:rPr>
                        <a:t>Requiring instruction in national or minority languages)</a:t>
                      </a:r>
                      <a:endParaRPr lang="en-US" sz="1400" b="0" i="1" u="none" kern="1200" dirty="0">
                        <a:solidFill>
                          <a:schemeClr val="accent5"/>
                        </a:solidFill>
                        <a:latin typeface="+mn-lt"/>
                        <a:ea typeface="+mn-ea"/>
                        <a:cs typeface="+mn-cs"/>
                      </a:endParaRPr>
                    </a:p>
                  </a:txBody>
                  <a:tcPr marL="27432" marR="27432" marT="27432" marB="27432" anchor="ctr">
                    <a:lnL w="9525" cap="flat" cmpd="sng" algn="ctr">
                      <a:noFill/>
                      <a:prstDash val="sysDot"/>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855677812"/>
                  </a:ext>
                </a:extLst>
              </a:tr>
              <a:tr h="686862">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Transparency </a:t>
                      </a:r>
                    </a:p>
                  </a:txBody>
                  <a:tcPr marR="27432" marT="27432" marB="27432" anchor="ctr">
                    <a:lnR w="9525" cap="flat" cmpd="sng" algn="ctr">
                      <a:noFill/>
                      <a:prstDash val="sys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0" u="none" dirty="0">
                          <a:solidFill>
                            <a:srgbClr val="145164"/>
                          </a:solidFill>
                          <a:latin typeface="+mn-lt"/>
                        </a:rPr>
                        <a:t>Enable decision making and promote public confidence </a:t>
                      </a:r>
                      <a:r>
                        <a:rPr lang="en-GB" sz="1400" b="0" i="0" u="none" dirty="0">
                          <a:latin typeface="+mn-lt"/>
                        </a:rPr>
                        <a:t>by making results open and publicly available</a:t>
                      </a:r>
                    </a:p>
                    <a:p>
                      <a:pPr marL="0" marR="0" lvl="0" indent="0" algn="l" defTabSz="914400" rtl="0" eaLnBrk="1" fontAlgn="auto" latinLnBrk="0" hangingPunct="1">
                        <a:lnSpc>
                          <a:spcPct val="100000"/>
                        </a:lnSpc>
                        <a:spcBef>
                          <a:spcPts val="0"/>
                        </a:spcBef>
                        <a:spcAft>
                          <a:spcPts val="0"/>
                        </a:spcAft>
                        <a:buClr>
                          <a:srgbClr val="145164"/>
                        </a:buClr>
                        <a:buSzTx/>
                        <a:buFont typeface="Trebuchet MS" panose="020B0603020202020204" pitchFamily="34" charset="0"/>
                        <a:buChar char="​"/>
                        <a:tabLst/>
                        <a:defRPr/>
                      </a:pPr>
                      <a:r>
                        <a:rPr lang="en-GB" sz="1400" b="0" i="1" u="none" dirty="0">
                          <a:solidFill>
                            <a:schemeClr val="accent5"/>
                          </a:solidFill>
                          <a:latin typeface="+mn-lt"/>
                        </a:rPr>
                        <a:t>(e.g  Publishing evaluation results for public access to stakeholders)</a:t>
                      </a:r>
                      <a:endParaRPr lang="en-US" sz="1400" b="0" i="1" u="none" dirty="0">
                        <a:solidFill>
                          <a:schemeClr val="accent5"/>
                        </a:solidFill>
                        <a:latin typeface="+mn-lt"/>
                      </a:endParaRPr>
                    </a:p>
                  </a:txBody>
                  <a:tcPr marL="27432" marR="27432" marT="27432" marB="27432" anchor="ctr">
                    <a:lnL w="9525" cap="flat" cmpd="sng" algn="ctr">
                      <a:noFill/>
                      <a:prstDash val="sysDot"/>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018921853"/>
                  </a:ext>
                </a:extLst>
              </a:tr>
              <a:tr h="652084">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Compliance</a:t>
                      </a:r>
                    </a:p>
                  </a:txBody>
                  <a:tcPr marR="27432" marT="27432" marB="27432" anchor="ctr">
                    <a:lnR w="9525" cap="flat" cmpd="sng" algn="ctr">
                      <a:noFill/>
                      <a:prstDash val="sys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0" u="none" dirty="0">
                          <a:solidFill>
                            <a:srgbClr val="145164"/>
                          </a:solidFill>
                          <a:latin typeface="+mn-lt"/>
                        </a:rPr>
                        <a:t>Ensure consistency across schools </a:t>
                      </a:r>
                      <a:r>
                        <a:rPr lang="en-GB" sz="1400" b="0" i="0" u="none" dirty="0">
                          <a:latin typeface="+mn-lt"/>
                        </a:rPr>
                        <a:t>by monitoring adherence to education laws and requirements </a:t>
                      </a:r>
                    </a:p>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GB" sz="1400" b="0" i="1" u="none" dirty="0">
                          <a:solidFill>
                            <a:schemeClr val="accent5"/>
                          </a:solidFill>
                          <a:latin typeface="+mn-lt"/>
                        </a:rPr>
                        <a:t>(e.g Inspections assessing compliance with statutory requirements, with non-compliance potentially triggering sanctions)</a:t>
                      </a:r>
                      <a:endParaRPr lang="en-US" sz="1400" b="0" i="1" u="none" dirty="0">
                        <a:solidFill>
                          <a:schemeClr val="accent5"/>
                        </a:solidFill>
                        <a:latin typeface="+mn-lt"/>
                      </a:endParaRPr>
                    </a:p>
                  </a:txBody>
                  <a:tcPr marL="27432" marR="27432" marT="27432" marB="27432" anchor="ctr">
                    <a:lnL w="9525" cap="flat" cmpd="sng" algn="ctr">
                      <a:noFill/>
                      <a:prstDash val="sysDot"/>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2425348950"/>
                  </a:ext>
                </a:extLst>
              </a:tr>
              <a:tr h="548640">
                <a:tc>
                  <a:txBody>
                    <a:bodyPr/>
                    <a:lstStyle/>
                    <a:p>
                      <a:pPr marL="0" indent="0" algn="l" defTabSz="914400" rtl="0" eaLnBrk="1" fontAlgn="auto" latinLnBrk="0" hangingPunct="1">
                        <a:lnSpc>
                          <a:spcPct val="100000"/>
                        </a:lnSpc>
                        <a:spcBef>
                          <a:spcPts val="0"/>
                        </a:spcBef>
                        <a:spcAft>
                          <a:spcPts val="0"/>
                        </a:spcAft>
                        <a:buClr>
                          <a:srgbClr val="145164"/>
                        </a:buClr>
                        <a:buFont typeface="Trebuchet MS" panose="020B0603020202020204" pitchFamily="34" charset="0"/>
                        <a:buChar char="​"/>
                      </a:pPr>
                      <a:r>
                        <a:rPr lang="en-US" sz="1400" b="0" i="0" u="none" dirty="0">
                          <a:latin typeface="+mn-lt"/>
                        </a:rPr>
                        <a:t>Educational improvement/excellence</a:t>
                      </a:r>
                    </a:p>
                  </a:txBody>
                  <a:tcPr marR="27432" marT="27432" marB="27432" anchor="ctr">
                    <a:lnR w="9525" cap="flat" cmpd="sng" algn="ctr">
                      <a:noFill/>
                      <a:prstDash val="sysDot"/>
                      <a:round/>
                      <a:headEnd type="none" w="med" len="med"/>
                      <a:tailEnd type="none" w="med" len="med"/>
                    </a:lnR>
                    <a:lnT w="9525" cap="flat" cmpd="sng" algn="ctr">
                      <a:solidFill>
                        <a:srgbClr val="9A9A9A"/>
                      </a:solidFill>
                      <a:prstDash val="sysDot"/>
                      <a:round/>
                      <a:headEnd type="none" w="med" len="med"/>
                      <a:tailEnd type="none" w="med" len="med"/>
                    </a:lnT>
                  </a:tcPr>
                </a:tc>
                <a:tc>
                  <a:txBody>
                    <a:bodyPr/>
                    <a:lstStyle/>
                    <a:p>
                      <a:r>
                        <a:rPr lang="en-GB" sz="1400" dirty="0">
                          <a:latin typeface="+mn-lt"/>
                        </a:rPr>
                        <a:t>Drive </a:t>
                      </a:r>
                      <a:r>
                        <a:rPr lang="en-GB" sz="1400" dirty="0">
                          <a:solidFill>
                            <a:srgbClr val="145164"/>
                          </a:solidFill>
                          <a:latin typeface="+mn-lt"/>
                        </a:rPr>
                        <a:t>improvements in </a:t>
                      </a:r>
                      <a:r>
                        <a:rPr lang="en-GB" sz="1400" dirty="0">
                          <a:latin typeface="+mn-lt"/>
                        </a:rPr>
                        <a:t>teaching /learning outcomes </a:t>
                      </a:r>
                      <a:endParaRPr lang="en-US" sz="1400" b="0" i="0" u="none"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1" u="none" dirty="0">
                          <a:solidFill>
                            <a:schemeClr val="accent5"/>
                          </a:solidFill>
                          <a:latin typeface="+mn-lt"/>
                        </a:rPr>
                        <a:t>(e.</a:t>
                      </a:r>
                      <a:r>
                        <a:rPr lang="en-GB" sz="1400" b="0" i="1" u="none" kern="1200" dirty="0">
                          <a:solidFill>
                            <a:schemeClr val="accent5"/>
                          </a:solidFill>
                          <a:latin typeface="+mn-lt"/>
                          <a:ea typeface="+mn-ea"/>
                          <a:cs typeface="+mn-cs"/>
                        </a:rPr>
                        <a:t>g Reporting on indicators related to academic attainment e.g. GCSE results)</a:t>
                      </a:r>
                      <a:endParaRPr lang="en-US" sz="1400" b="0" i="1" u="none" kern="1200" dirty="0">
                        <a:solidFill>
                          <a:schemeClr val="accent5"/>
                        </a:solidFill>
                        <a:latin typeface="+mn-lt"/>
                        <a:ea typeface="+mn-ea"/>
                        <a:cs typeface="+mn-cs"/>
                      </a:endParaRPr>
                    </a:p>
                  </a:txBody>
                  <a:tcPr marL="27432" marR="27432" marT="27432" marB="27432" anchor="ctr">
                    <a:lnL w="9525" cap="flat" cmpd="sng" algn="ctr">
                      <a:noFill/>
                      <a:prstDash val="sysDot"/>
                      <a:round/>
                      <a:headEnd type="none" w="med" len="med"/>
                      <a:tailEnd type="none" w="med" len="med"/>
                    </a:lnL>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3103281166"/>
                  </a:ext>
                </a:extLst>
              </a:tr>
            </a:tbl>
          </a:graphicData>
        </a:graphic>
      </p:graphicFrame>
      <p:grpSp>
        <p:nvGrpSpPr>
          <p:cNvPr id="151" name="bcgIcons_Scales equal balance">
            <a:extLst>
              <a:ext uri="{FF2B5EF4-FFF2-40B4-BE49-F238E27FC236}">
                <a16:creationId xmlns:a16="http://schemas.microsoft.com/office/drawing/2014/main" id="{8134C22F-987B-F15A-616E-6533471393F9}"/>
              </a:ext>
            </a:extLst>
          </p:cNvPr>
          <p:cNvGrpSpPr>
            <a:grpSpLocks noChangeAspect="1"/>
          </p:cNvGrpSpPr>
          <p:nvPr/>
        </p:nvGrpSpPr>
        <p:grpSpPr>
          <a:xfrm>
            <a:off x="676729" y="2807922"/>
            <a:ext cx="365760" cy="365760"/>
            <a:chOff x="5273675" y="2606675"/>
            <a:chExt cx="1644650" cy="1644650"/>
          </a:xfrm>
        </p:grpSpPr>
        <p:sp>
          <p:nvSpPr>
            <p:cNvPr id="152" name="AutoShape 33">
              <a:extLst>
                <a:ext uri="{FF2B5EF4-FFF2-40B4-BE49-F238E27FC236}">
                  <a16:creationId xmlns:a16="http://schemas.microsoft.com/office/drawing/2014/main" id="{3834DDF4-17EB-2278-4145-CD56F670E5F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3" name="Group 152">
              <a:extLst>
                <a:ext uri="{FF2B5EF4-FFF2-40B4-BE49-F238E27FC236}">
                  <a16:creationId xmlns:a16="http://schemas.microsoft.com/office/drawing/2014/main" id="{098E23F5-9F95-A755-0952-B3C5EC9463E7}"/>
                </a:ext>
              </a:extLst>
            </p:cNvPr>
            <p:cNvGrpSpPr/>
            <p:nvPr/>
          </p:nvGrpSpPr>
          <p:grpSpPr>
            <a:xfrm>
              <a:off x="5403951" y="2919413"/>
              <a:ext cx="1382512" cy="1098550"/>
              <a:chOff x="5403951" y="2919413"/>
              <a:chExt cx="1382512" cy="1098550"/>
            </a:xfrm>
          </p:grpSpPr>
          <p:sp>
            <p:nvSpPr>
              <p:cNvPr id="154" name="Freeform 12">
                <a:extLst>
                  <a:ext uri="{FF2B5EF4-FFF2-40B4-BE49-F238E27FC236}">
                    <a16:creationId xmlns:a16="http://schemas.microsoft.com/office/drawing/2014/main" id="{4DD7366E-9F79-C2FF-B192-EA2F22E5701B}"/>
                  </a:ext>
                </a:extLst>
              </p:cNvPr>
              <p:cNvSpPr>
                <a:spLocks/>
              </p:cNvSpPr>
              <p:nvPr/>
            </p:nvSpPr>
            <p:spPr bwMode="auto">
              <a:xfrm>
                <a:off x="5403951" y="2955925"/>
                <a:ext cx="1382512" cy="814388"/>
              </a:xfrm>
              <a:custGeom>
                <a:avLst/>
                <a:gdLst>
                  <a:gd name="connsiteX0" fmla="*/ 1172705 w 1382512"/>
                  <a:gd name="connsiteY0" fmla="*/ 90488 h 814388"/>
                  <a:gd name="connsiteX1" fmla="*/ 1034331 w 1382512"/>
                  <a:gd name="connsiteY1" fmla="*/ 488045 h 814388"/>
                  <a:gd name="connsiteX2" fmla="*/ 1000094 w 1382512"/>
                  <a:gd name="connsiteY2" fmla="*/ 586005 h 814388"/>
                  <a:gd name="connsiteX3" fmla="*/ 996527 w 1382512"/>
                  <a:gd name="connsiteY3" fmla="*/ 633912 h 814388"/>
                  <a:gd name="connsiteX4" fmla="*/ 1172705 w 1382512"/>
                  <a:gd name="connsiteY4" fmla="*/ 782638 h 814388"/>
                  <a:gd name="connsiteX5" fmla="*/ 1349596 w 1382512"/>
                  <a:gd name="connsiteY5" fmla="*/ 633912 h 814388"/>
                  <a:gd name="connsiteX6" fmla="*/ 1345317 w 1382512"/>
                  <a:gd name="connsiteY6" fmla="*/ 586005 h 814388"/>
                  <a:gd name="connsiteX7" fmla="*/ 1311793 w 1382512"/>
                  <a:gd name="connsiteY7" fmla="*/ 488045 h 814388"/>
                  <a:gd name="connsiteX8" fmla="*/ 1172705 w 1382512"/>
                  <a:gd name="connsiteY8" fmla="*/ 90488 h 814388"/>
                  <a:gd name="connsiteX9" fmla="*/ 209806 w 1382512"/>
                  <a:gd name="connsiteY9" fmla="*/ 90488 h 814388"/>
                  <a:gd name="connsiteX10" fmla="*/ 70719 w 1382512"/>
                  <a:gd name="connsiteY10" fmla="*/ 488045 h 814388"/>
                  <a:gd name="connsiteX11" fmla="*/ 37195 w 1382512"/>
                  <a:gd name="connsiteY11" fmla="*/ 586005 h 814388"/>
                  <a:gd name="connsiteX12" fmla="*/ 32915 w 1382512"/>
                  <a:gd name="connsiteY12" fmla="*/ 633912 h 814388"/>
                  <a:gd name="connsiteX13" fmla="*/ 209806 w 1382512"/>
                  <a:gd name="connsiteY13" fmla="*/ 782638 h 814388"/>
                  <a:gd name="connsiteX14" fmla="*/ 385984 w 1382512"/>
                  <a:gd name="connsiteY14" fmla="*/ 633912 h 814388"/>
                  <a:gd name="connsiteX15" fmla="*/ 382418 w 1382512"/>
                  <a:gd name="connsiteY15" fmla="*/ 586005 h 814388"/>
                  <a:gd name="connsiteX16" fmla="*/ 348181 w 1382512"/>
                  <a:gd name="connsiteY16" fmla="*/ 488045 h 814388"/>
                  <a:gd name="connsiteX17" fmla="*/ 793649 w 1382512"/>
                  <a:gd name="connsiteY17" fmla="*/ 0 h 814388"/>
                  <a:gd name="connsiteX18" fmla="*/ 1174511 w 1382512"/>
                  <a:gd name="connsiteY18" fmla="*/ 27170 h 814388"/>
                  <a:gd name="connsiteX19" fmla="*/ 1176651 w 1382512"/>
                  <a:gd name="connsiteY19" fmla="*/ 27885 h 814388"/>
                  <a:gd name="connsiteX20" fmla="*/ 1177364 w 1382512"/>
                  <a:gd name="connsiteY20" fmla="*/ 27885 h 814388"/>
                  <a:gd name="connsiteX21" fmla="*/ 1179504 w 1382512"/>
                  <a:gd name="connsiteY21" fmla="*/ 28600 h 814388"/>
                  <a:gd name="connsiteX22" fmla="*/ 1180217 w 1382512"/>
                  <a:gd name="connsiteY22" fmla="*/ 28600 h 814388"/>
                  <a:gd name="connsiteX23" fmla="*/ 1182357 w 1382512"/>
                  <a:gd name="connsiteY23" fmla="*/ 30030 h 814388"/>
                  <a:gd name="connsiteX24" fmla="*/ 1183070 w 1382512"/>
                  <a:gd name="connsiteY24" fmla="*/ 30745 h 814388"/>
                  <a:gd name="connsiteX25" fmla="*/ 1184496 w 1382512"/>
                  <a:gd name="connsiteY25" fmla="*/ 32175 h 814388"/>
                  <a:gd name="connsiteX26" fmla="*/ 1185210 w 1382512"/>
                  <a:gd name="connsiteY26" fmla="*/ 32890 h 814388"/>
                  <a:gd name="connsiteX27" fmla="*/ 1185923 w 1382512"/>
                  <a:gd name="connsiteY27" fmla="*/ 34320 h 814388"/>
                  <a:gd name="connsiteX28" fmla="*/ 1186636 w 1382512"/>
                  <a:gd name="connsiteY28" fmla="*/ 35035 h 814388"/>
                  <a:gd name="connsiteX29" fmla="*/ 1187349 w 1382512"/>
                  <a:gd name="connsiteY29" fmla="*/ 36465 h 814388"/>
                  <a:gd name="connsiteX30" fmla="*/ 1188062 w 1382512"/>
                  <a:gd name="connsiteY30" fmla="*/ 37180 h 814388"/>
                  <a:gd name="connsiteX31" fmla="*/ 1188062 w 1382512"/>
                  <a:gd name="connsiteY31" fmla="*/ 37895 h 814388"/>
                  <a:gd name="connsiteX32" fmla="*/ 1341406 w 1382512"/>
                  <a:gd name="connsiteY32" fmla="*/ 477622 h 814388"/>
                  <a:gd name="connsiteX33" fmla="*/ 1375641 w 1382512"/>
                  <a:gd name="connsiteY33" fmla="*/ 576292 h 814388"/>
                  <a:gd name="connsiteX34" fmla="*/ 1380633 w 1382512"/>
                  <a:gd name="connsiteY34" fmla="*/ 639213 h 814388"/>
                  <a:gd name="connsiteX35" fmla="*/ 1173085 w 1382512"/>
                  <a:gd name="connsiteY35" fmla="*/ 814388 h 814388"/>
                  <a:gd name="connsiteX36" fmla="*/ 965536 w 1382512"/>
                  <a:gd name="connsiteY36" fmla="*/ 639213 h 814388"/>
                  <a:gd name="connsiteX37" fmla="*/ 971242 w 1382512"/>
                  <a:gd name="connsiteY37" fmla="*/ 576292 h 814388"/>
                  <a:gd name="connsiteX38" fmla="*/ 1004764 w 1382512"/>
                  <a:gd name="connsiteY38" fmla="*/ 478337 h 814388"/>
                  <a:gd name="connsiteX39" fmla="*/ 1150262 w 1382512"/>
                  <a:gd name="connsiteY39" fmla="*/ 60060 h 814388"/>
                  <a:gd name="connsiteX40" fmla="*/ 793649 w 1382512"/>
                  <a:gd name="connsiteY40" fmla="*/ 85800 h 814388"/>
                  <a:gd name="connsiteX41" fmla="*/ 802208 w 1382512"/>
                  <a:gd name="connsiteY41" fmla="*/ 53625 h 814388"/>
                  <a:gd name="connsiteX42" fmla="*/ 953412 w 1382512"/>
                  <a:gd name="connsiteY42" fmla="*/ 42900 h 814388"/>
                  <a:gd name="connsiteX43" fmla="*/ 802208 w 1382512"/>
                  <a:gd name="connsiteY43" fmla="*/ 32175 h 814388"/>
                  <a:gd name="connsiteX44" fmla="*/ 793649 w 1382512"/>
                  <a:gd name="connsiteY44" fmla="*/ 0 h 814388"/>
                  <a:gd name="connsiteX45" fmla="*/ 588862 w 1382512"/>
                  <a:gd name="connsiteY45" fmla="*/ 0 h 814388"/>
                  <a:gd name="connsiteX46" fmla="*/ 580304 w 1382512"/>
                  <a:gd name="connsiteY46" fmla="*/ 32175 h 814388"/>
                  <a:gd name="connsiteX47" fmla="*/ 429100 w 1382512"/>
                  <a:gd name="connsiteY47" fmla="*/ 42900 h 814388"/>
                  <a:gd name="connsiteX48" fmla="*/ 580304 w 1382512"/>
                  <a:gd name="connsiteY48" fmla="*/ 53625 h 814388"/>
                  <a:gd name="connsiteX49" fmla="*/ 588862 w 1382512"/>
                  <a:gd name="connsiteY49" fmla="*/ 85800 h 814388"/>
                  <a:gd name="connsiteX50" fmla="*/ 232250 w 1382512"/>
                  <a:gd name="connsiteY50" fmla="*/ 60060 h 814388"/>
                  <a:gd name="connsiteX51" fmla="*/ 377748 w 1382512"/>
                  <a:gd name="connsiteY51" fmla="*/ 477622 h 814388"/>
                  <a:gd name="connsiteX52" fmla="*/ 411269 w 1382512"/>
                  <a:gd name="connsiteY52" fmla="*/ 576292 h 814388"/>
                  <a:gd name="connsiteX53" fmla="*/ 416975 w 1382512"/>
                  <a:gd name="connsiteY53" fmla="*/ 639213 h 814388"/>
                  <a:gd name="connsiteX54" fmla="*/ 209427 w 1382512"/>
                  <a:gd name="connsiteY54" fmla="*/ 814388 h 814388"/>
                  <a:gd name="connsiteX55" fmla="*/ 1878 w 1382512"/>
                  <a:gd name="connsiteY55" fmla="*/ 639213 h 814388"/>
                  <a:gd name="connsiteX56" fmla="*/ 6871 w 1382512"/>
                  <a:gd name="connsiteY56" fmla="*/ 576292 h 814388"/>
                  <a:gd name="connsiteX57" fmla="*/ 41106 w 1382512"/>
                  <a:gd name="connsiteY57" fmla="*/ 478337 h 814388"/>
                  <a:gd name="connsiteX58" fmla="*/ 194449 w 1382512"/>
                  <a:gd name="connsiteY58" fmla="*/ 37895 h 814388"/>
                  <a:gd name="connsiteX59" fmla="*/ 194449 w 1382512"/>
                  <a:gd name="connsiteY59" fmla="*/ 37180 h 814388"/>
                  <a:gd name="connsiteX60" fmla="*/ 195162 w 1382512"/>
                  <a:gd name="connsiteY60" fmla="*/ 36465 h 814388"/>
                  <a:gd name="connsiteX61" fmla="*/ 195875 w 1382512"/>
                  <a:gd name="connsiteY61" fmla="*/ 35035 h 814388"/>
                  <a:gd name="connsiteX62" fmla="*/ 196589 w 1382512"/>
                  <a:gd name="connsiteY62" fmla="*/ 34320 h 814388"/>
                  <a:gd name="connsiteX63" fmla="*/ 197302 w 1382512"/>
                  <a:gd name="connsiteY63" fmla="*/ 32890 h 814388"/>
                  <a:gd name="connsiteX64" fmla="*/ 198015 w 1382512"/>
                  <a:gd name="connsiteY64" fmla="*/ 32175 h 814388"/>
                  <a:gd name="connsiteX65" fmla="*/ 199442 w 1382512"/>
                  <a:gd name="connsiteY65" fmla="*/ 30745 h 814388"/>
                  <a:gd name="connsiteX66" fmla="*/ 200155 w 1382512"/>
                  <a:gd name="connsiteY66" fmla="*/ 30030 h 814388"/>
                  <a:gd name="connsiteX67" fmla="*/ 202294 w 1382512"/>
                  <a:gd name="connsiteY67" fmla="*/ 28600 h 814388"/>
                  <a:gd name="connsiteX68" fmla="*/ 203008 w 1382512"/>
                  <a:gd name="connsiteY68" fmla="*/ 28600 h 814388"/>
                  <a:gd name="connsiteX69" fmla="*/ 205147 w 1382512"/>
                  <a:gd name="connsiteY69" fmla="*/ 27885 h 814388"/>
                  <a:gd name="connsiteX70" fmla="*/ 205861 w 1382512"/>
                  <a:gd name="connsiteY70" fmla="*/ 27885 h 814388"/>
                  <a:gd name="connsiteX71" fmla="*/ 208000 w 1382512"/>
                  <a:gd name="connsiteY71" fmla="*/ 27170 h 814388"/>
                  <a:gd name="connsiteX72" fmla="*/ 588862 w 1382512"/>
                  <a:gd name="connsiteY72" fmla="*/ 0 h 81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2512" h="814388">
                    <a:moveTo>
                      <a:pt x="1172705" y="90488"/>
                    </a:moveTo>
                    <a:cubicBezTo>
                      <a:pt x="1172705" y="90488"/>
                      <a:pt x="1172705" y="90488"/>
                      <a:pt x="1034331" y="488045"/>
                    </a:cubicBezTo>
                    <a:cubicBezTo>
                      <a:pt x="1034331" y="488045"/>
                      <a:pt x="1034331" y="488045"/>
                      <a:pt x="1000094" y="586005"/>
                    </a:cubicBezTo>
                    <a:cubicBezTo>
                      <a:pt x="995101" y="601735"/>
                      <a:pt x="993674" y="618181"/>
                      <a:pt x="996527" y="633912"/>
                    </a:cubicBezTo>
                    <a:cubicBezTo>
                      <a:pt x="1010793" y="719715"/>
                      <a:pt x="1084973" y="782638"/>
                      <a:pt x="1172705" y="782638"/>
                    </a:cubicBezTo>
                    <a:cubicBezTo>
                      <a:pt x="1260437" y="782638"/>
                      <a:pt x="1334617" y="719715"/>
                      <a:pt x="1349596" y="633912"/>
                    </a:cubicBezTo>
                    <a:cubicBezTo>
                      <a:pt x="1352449" y="618181"/>
                      <a:pt x="1351023" y="601735"/>
                      <a:pt x="1345317" y="586005"/>
                    </a:cubicBezTo>
                    <a:cubicBezTo>
                      <a:pt x="1345317" y="586005"/>
                      <a:pt x="1345317" y="586005"/>
                      <a:pt x="1311793" y="488045"/>
                    </a:cubicBezTo>
                    <a:cubicBezTo>
                      <a:pt x="1311793" y="488045"/>
                      <a:pt x="1311793" y="488045"/>
                      <a:pt x="1172705" y="90488"/>
                    </a:cubicBezTo>
                    <a:close/>
                    <a:moveTo>
                      <a:pt x="209806" y="90488"/>
                    </a:moveTo>
                    <a:cubicBezTo>
                      <a:pt x="209806" y="90488"/>
                      <a:pt x="209806" y="90488"/>
                      <a:pt x="70719" y="488045"/>
                    </a:cubicBezTo>
                    <a:cubicBezTo>
                      <a:pt x="70719" y="488045"/>
                      <a:pt x="70719" y="488045"/>
                      <a:pt x="37195" y="586005"/>
                    </a:cubicBezTo>
                    <a:cubicBezTo>
                      <a:pt x="31489" y="601735"/>
                      <a:pt x="30062" y="618181"/>
                      <a:pt x="32915" y="633912"/>
                    </a:cubicBezTo>
                    <a:cubicBezTo>
                      <a:pt x="47894" y="719715"/>
                      <a:pt x="122074" y="782638"/>
                      <a:pt x="209806" y="782638"/>
                    </a:cubicBezTo>
                    <a:cubicBezTo>
                      <a:pt x="297539" y="782638"/>
                      <a:pt x="371719" y="719715"/>
                      <a:pt x="385984" y="633912"/>
                    </a:cubicBezTo>
                    <a:cubicBezTo>
                      <a:pt x="388837" y="618181"/>
                      <a:pt x="387411" y="601735"/>
                      <a:pt x="382418" y="586005"/>
                    </a:cubicBezTo>
                    <a:cubicBezTo>
                      <a:pt x="382418" y="586005"/>
                      <a:pt x="382418" y="586005"/>
                      <a:pt x="348181" y="488045"/>
                    </a:cubicBezTo>
                    <a:close/>
                    <a:moveTo>
                      <a:pt x="793649" y="0"/>
                    </a:moveTo>
                    <a:cubicBezTo>
                      <a:pt x="793649" y="0"/>
                      <a:pt x="793649" y="0"/>
                      <a:pt x="1174511" y="27170"/>
                    </a:cubicBezTo>
                    <a:cubicBezTo>
                      <a:pt x="1175224" y="27170"/>
                      <a:pt x="1175938" y="27885"/>
                      <a:pt x="1176651" y="27885"/>
                    </a:cubicBezTo>
                    <a:cubicBezTo>
                      <a:pt x="1177364" y="27885"/>
                      <a:pt x="1177364" y="27885"/>
                      <a:pt x="1177364" y="27885"/>
                    </a:cubicBezTo>
                    <a:cubicBezTo>
                      <a:pt x="1178077" y="27885"/>
                      <a:pt x="1178791" y="28600"/>
                      <a:pt x="1179504" y="28600"/>
                    </a:cubicBezTo>
                    <a:cubicBezTo>
                      <a:pt x="1179504" y="28600"/>
                      <a:pt x="1180217" y="28600"/>
                      <a:pt x="1180217" y="28600"/>
                    </a:cubicBezTo>
                    <a:cubicBezTo>
                      <a:pt x="1180930" y="29315"/>
                      <a:pt x="1181643" y="30030"/>
                      <a:pt x="1182357" y="30030"/>
                    </a:cubicBezTo>
                    <a:cubicBezTo>
                      <a:pt x="1182357" y="30745"/>
                      <a:pt x="1183070" y="30745"/>
                      <a:pt x="1183070" y="30745"/>
                    </a:cubicBezTo>
                    <a:cubicBezTo>
                      <a:pt x="1183783" y="31460"/>
                      <a:pt x="1183783" y="31460"/>
                      <a:pt x="1184496" y="32175"/>
                    </a:cubicBezTo>
                    <a:cubicBezTo>
                      <a:pt x="1184496" y="32175"/>
                      <a:pt x="1185210" y="32175"/>
                      <a:pt x="1185210" y="32890"/>
                    </a:cubicBezTo>
                    <a:cubicBezTo>
                      <a:pt x="1185210" y="32890"/>
                      <a:pt x="1185923" y="33605"/>
                      <a:pt x="1185923" y="34320"/>
                    </a:cubicBezTo>
                    <a:cubicBezTo>
                      <a:pt x="1186636" y="34320"/>
                      <a:pt x="1186636" y="35035"/>
                      <a:pt x="1186636" y="35035"/>
                    </a:cubicBezTo>
                    <a:cubicBezTo>
                      <a:pt x="1186636" y="35750"/>
                      <a:pt x="1187349" y="35750"/>
                      <a:pt x="1187349" y="36465"/>
                    </a:cubicBezTo>
                    <a:cubicBezTo>
                      <a:pt x="1187349" y="36465"/>
                      <a:pt x="1188062" y="37180"/>
                      <a:pt x="1188062" y="37180"/>
                    </a:cubicBezTo>
                    <a:cubicBezTo>
                      <a:pt x="1188062" y="37895"/>
                      <a:pt x="1188062" y="37895"/>
                      <a:pt x="1188062" y="37895"/>
                    </a:cubicBezTo>
                    <a:cubicBezTo>
                      <a:pt x="1188062" y="37895"/>
                      <a:pt x="1188062" y="37895"/>
                      <a:pt x="1341406" y="477622"/>
                    </a:cubicBezTo>
                    <a:lnTo>
                      <a:pt x="1375641" y="576292"/>
                    </a:lnTo>
                    <a:cubicBezTo>
                      <a:pt x="1382773" y="597027"/>
                      <a:pt x="1384199" y="618477"/>
                      <a:pt x="1380633" y="639213"/>
                    </a:cubicBezTo>
                    <a:cubicBezTo>
                      <a:pt x="1363516" y="740743"/>
                      <a:pt x="1275789" y="814388"/>
                      <a:pt x="1173085" y="814388"/>
                    </a:cubicBezTo>
                    <a:cubicBezTo>
                      <a:pt x="1070380" y="814388"/>
                      <a:pt x="982654" y="740743"/>
                      <a:pt x="965536" y="639213"/>
                    </a:cubicBezTo>
                    <a:cubicBezTo>
                      <a:pt x="961970" y="618477"/>
                      <a:pt x="964110" y="597027"/>
                      <a:pt x="971242" y="576292"/>
                    </a:cubicBezTo>
                    <a:cubicBezTo>
                      <a:pt x="971242" y="576292"/>
                      <a:pt x="971242" y="576292"/>
                      <a:pt x="1004764" y="478337"/>
                    </a:cubicBezTo>
                    <a:cubicBezTo>
                      <a:pt x="1004764" y="478337"/>
                      <a:pt x="1004764" y="478337"/>
                      <a:pt x="1150262" y="60060"/>
                    </a:cubicBezTo>
                    <a:cubicBezTo>
                      <a:pt x="1150262" y="60060"/>
                      <a:pt x="1150262" y="60060"/>
                      <a:pt x="793649" y="85800"/>
                    </a:cubicBezTo>
                    <a:cubicBezTo>
                      <a:pt x="797929" y="75790"/>
                      <a:pt x="800781" y="65065"/>
                      <a:pt x="802208" y="53625"/>
                    </a:cubicBezTo>
                    <a:cubicBezTo>
                      <a:pt x="802208" y="53625"/>
                      <a:pt x="802208" y="53625"/>
                      <a:pt x="953412" y="42900"/>
                    </a:cubicBezTo>
                    <a:cubicBezTo>
                      <a:pt x="953412" y="42900"/>
                      <a:pt x="953412" y="42900"/>
                      <a:pt x="802208" y="32175"/>
                    </a:cubicBezTo>
                    <a:cubicBezTo>
                      <a:pt x="800781" y="20735"/>
                      <a:pt x="797929" y="10010"/>
                      <a:pt x="793649" y="0"/>
                    </a:cubicBezTo>
                    <a:close/>
                    <a:moveTo>
                      <a:pt x="588862" y="0"/>
                    </a:moveTo>
                    <a:cubicBezTo>
                      <a:pt x="584583" y="10010"/>
                      <a:pt x="581730" y="20735"/>
                      <a:pt x="580304" y="32175"/>
                    </a:cubicBezTo>
                    <a:cubicBezTo>
                      <a:pt x="580304" y="32175"/>
                      <a:pt x="580304" y="32175"/>
                      <a:pt x="429100" y="42900"/>
                    </a:cubicBezTo>
                    <a:cubicBezTo>
                      <a:pt x="429100" y="42900"/>
                      <a:pt x="429100" y="42900"/>
                      <a:pt x="580304" y="53625"/>
                    </a:cubicBezTo>
                    <a:cubicBezTo>
                      <a:pt x="581730" y="65065"/>
                      <a:pt x="584583" y="75790"/>
                      <a:pt x="588862" y="85800"/>
                    </a:cubicBezTo>
                    <a:cubicBezTo>
                      <a:pt x="588862" y="85800"/>
                      <a:pt x="588862" y="85800"/>
                      <a:pt x="232250" y="60060"/>
                    </a:cubicBezTo>
                    <a:cubicBezTo>
                      <a:pt x="232250" y="60060"/>
                      <a:pt x="232250" y="60060"/>
                      <a:pt x="377748" y="477622"/>
                    </a:cubicBezTo>
                    <a:cubicBezTo>
                      <a:pt x="377748" y="477622"/>
                      <a:pt x="377748" y="477622"/>
                      <a:pt x="411269" y="576292"/>
                    </a:cubicBezTo>
                    <a:cubicBezTo>
                      <a:pt x="418402" y="597027"/>
                      <a:pt x="420541" y="618477"/>
                      <a:pt x="416975" y="639213"/>
                    </a:cubicBezTo>
                    <a:cubicBezTo>
                      <a:pt x="399858" y="740743"/>
                      <a:pt x="312131" y="814388"/>
                      <a:pt x="209427" y="814388"/>
                    </a:cubicBezTo>
                    <a:cubicBezTo>
                      <a:pt x="106722" y="814388"/>
                      <a:pt x="18996" y="740743"/>
                      <a:pt x="1878" y="639213"/>
                    </a:cubicBezTo>
                    <a:cubicBezTo>
                      <a:pt x="-1688" y="618477"/>
                      <a:pt x="-261" y="597027"/>
                      <a:pt x="6871" y="576292"/>
                    </a:cubicBezTo>
                    <a:cubicBezTo>
                      <a:pt x="6871" y="576292"/>
                      <a:pt x="6871" y="576292"/>
                      <a:pt x="41106" y="478337"/>
                    </a:cubicBezTo>
                    <a:cubicBezTo>
                      <a:pt x="41106" y="478337"/>
                      <a:pt x="41106" y="478337"/>
                      <a:pt x="194449" y="37895"/>
                    </a:cubicBezTo>
                    <a:cubicBezTo>
                      <a:pt x="194449" y="37895"/>
                      <a:pt x="194449" y="37895"/>
                      <a:pt x="194449" y="37180"/>
                    </a:cubicBezTo>
                    <a:cubicBezTo>
                      <a:pt x="194449" y="37180"/>
                      <a:pt x="195162" y="36465"/>
                      <a:pt x="195162" y="36465"/>
                    </a:cubicBezTo>
                    <a:cubicBezTo>
                      <a:pt x="195162" y="35750"/>
                      <a:pt x="195875" y="35750"/>
                      <a:pt x="195875" y="35035"/>
                    </a:cubicBezTo>
                    <a:cubicBezTo>
                      <a:pt x="195875" y="35035"/>
                      <a:pt x="195875" y="34320"/>
                      <a:pt x="196589" y="34320"/>
                    </a:cubicBezTo>
                    <a:cubicBezTo>
                      <a:pt x="196589" y="33605"/>
                      <a:pt x="197302" y="32890"/>
                      <a:pt x="197302" y="32890"/>
                    </a:cubicBezTo>
                    <a:cubicBezTo>
                      <a:pt x="197302" y="32175"/>
                      <a:pt x="198015" y="32175"/>
                      <a:pt x="198015" y="32175"/>
                    </a:cubicBezTo>
                    <a:cubicBezTo>
                      <a:pt x="198728" y="31460"/>
                      <a:pt x="198728" y="31460"/>
                      <a:pt x="199442" y="30745"/>
                    </a:cubicBezTo>
                    <a:cubicBezTo>
                      <a:pt x="199442" y="30745"/>
                      <a:pt x="200155" y="30745"/>
                      <a:pt x="200155" y="30030"/>
                    </a:cubicBezTo>
                    <a:cubicBezTo>
                      <a:pt x="200868" y="30030"/>
                      <a:pt x="201581" y="29315"/>
                      <a:pt x="202294" y="28600"/>
                    </a:cubicBezTo>
                    <a:cubicBezTo>
                      <a:pt x="202294" y="28600"/>
                      <a:pt x="203008" y="28600"/>
                      <a:pt x="203008" y="28600"/>
                    </a:cubicBezTo>
                    <a:cubicBezTo>
                      <a:pt x="203721" y="28600"/>
                      <a:pt x="204434" y="27885"/>
                      <a:pt x="205147" y="27885"/>
                    </a:cubicBezTo>
                    <a:cubicBezTo>
                      <a:pt x="205147" y="27885"/>
                      <a:pt x="205147" y="27885"/>
                      <a:pt x="205861" y="27885"/>
                    </a:cubicBezTo>
                    <a:cubicBezTo>
                      <a:pt x="206574" y="27885"/>
                      <a:pt x="207287" y="27170"/>
                      <a:pt x="208000" y="27170"/>
                    </a:cubicBezTo>
                    <a:cubicBezTo>
                      <a:pt x="208000" y="27170"/>
                      <a:pt x="208000" y="27170"/>
                      <a:pt x="5888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55" name="Freeform 13">
                <a:extLst>
                  <a:ext uri="{FF2B5EF4-FFF2-40B4-BE49-F238E27FC236}">
                    <a16:creationId xmlns:a16="http://schemas.microsoft.com/office/drawing/2014/main" id="{ACAAA180-E1DF-1DAB-6484-A8ACE02836BA}"/>
                  </a:ext>
                </a:extLst>
              </p:cNvPr>
              <p:cNvSpPr>
                <a:spLocks/>
              </p:cNvSpPr>
              <p:nvPr/>
            </p:nvSpPr>
            <p:spPr bwMode="auto">
              <a:xfrm>
                <a:off x="5465763" y="2919413"/>
                <a:ext cx="1258887" cy="1098550"/>
              </a:xfrm>
              <a:custGeom>
                <a:avLst/>
                <a:gdLst>
                  <a:gd name="connsiteX0" fmla="*/ 963612 w 1258887"/>
                  <a:gd name="connsiteY0" fmla="*/ 644525 h 1098550"/>
                  <a:gd name="connsiteX1" fmla="*/ 1258887 w 1258887"/>
                  <a:gd name="connsiteY1" fmla="*/ 644525 h 1098550"/>
                  <a:gd name="connsiteX2" fmla="*/ 1111250 w 1258887"/>
                  <a:gd name="connsiteY2" fmla="*/ 787400 h 1098550"/>
                  <a:gd name="connsiteX3" fmla="*/ 963612 w 1258887"/>
                  <a:gd name="connsiteY3" fmla="*/ 644525 h 1098550"/>
                  <a:gd name="connsiteX4" fmla="*/ 0 w 1258887"/>
                  <a:gd name="connsiteY4" fmla="*/ 644525 h 1098550"/>
                  <a:gd name="connsiteX5" fmla="*/ 295275 w 1258887"/>
                  <a:gd name="connsiteY5" fmla="*/ 644525 h 1098550"/>
                  <a:gd name="connsiteX6" fmla="*/ 147637 w 1258887"/>
                  <a:gd name="connsiteY6" fmla="*/ 787400 h 1098550"/>
                  <a:gd name="connsiteX7" fmla="*/ 0 w 1258887"/>
                  <a:gd name="connsiteY7" fmla="*/ 644525 h 1098550"/>
                  <a:gd name="connsiteX8" fmla="*/ 629881 w 1258887"/>
                  <a:gd name="connsiteY8" fmla="*/ 0 h 1098550"/>
                  <a:gd name="connsiteX9" fmla="*/ 634873 w 1258887"/>
                  <a:gd name="connsiteY9" fmla="*/ 0 h 1098550"/>
                  <a:gd name="connsiteX10" fmla="*/ 694786 w 1258887"/>
                  <a:gd name="connsiteY10" fmla="*/ 33571 h 1098550"/>
                  <a:gd name="connsiteX11" fmla="*/ 708338 w 1258887"/>
                  <a:gd name="connsiteY11" fmla="*/ 66427 h 1098550"/>
                  <a:gd name="connsiteX12" fmla="*/ 709051 w 1258887"/>
                  <a:gd name="connsiteY12" fmla="*/ 74999 h 1098550"/>
                  <a:gd name="connsiteX13" fmla="*/ 708338 w 1258887"/>
                  <a:gd name="connsiteY13" fmla="*/ 92855 h 1098550"/>
                  <a:gd name="connsiteX14" fmla="*/ 694786 w 1258887"/>
                  <a:gd name="connsiteY14" fmla="*/ 124998 h 1098550"/>
                  <a:gd name="connsiteX15" fmla="*/ 670536 w 1258887"/>
                  <a:gd name="connsiteY15" fmla="*/ 147854 h 1098550"/>
                  <a:gd name="connsiteX16" fmla="*/ 670536 w 1258887"/>
                  <a:gd name="connsiteY16" fmla="*/ 987838 h 1098550"/>
                  <a:gd name="connsiteX17" fmla="*/ 682661 w 1258887"/>
                  <a:gd name="connsiteY17" fmla="*/ 1002838 h 1098550"/>
                  <a:gd name="connsiteX18" fmla="*/ 939431 w 1258887"/>
                  <a:gd name="connsiteY18" fmla="*/ 1067837 h 1098550"/>
                  <a:gd name="connsiteX19" fmla="*/ 935865 w 1258887"/>
                  <a:gd name="connsiteY19" fmla="*/ 1098550 h 1098550"/>
                  <a:gd name="connsiteX20" fmla="*/ 324610 w 1258887"/>
                  <a:gd name="connsiteY20" fmla="*/ 1098550 h 1098550"/>
                  <a:gd name="connsiteX21" fmla="*/ 321043 w 1258887"/>
                  <a:gd name="connsiteY21" fmla="*/ 1067837 h 1098550"/>
                  <a:gd name="connsiteX22" fmla="*/ 581380 w 1258887"/>
                  <a:gd name="connsiteY22" fmla="*/ 1002838 h 1098550"/>
                  <a:gd name="connsiteX23" fmla="*/ 593505 w 1258887"/>
                  <a:gd name="connsiteY23" fmla="*/ 987838 h 1098550"/>
                  <a:gd name="connsiteX24" fmla="*/ 593505 w 1258887"/>
                  <a:gd name="connsiteY24" fmla="*/ 149997 h 1098550"/>
                  <a:gd name="connsiteX25" fmla="*/ 564975 w 1258887"/>
                  <a:gd name="connsiteY25" fmla="*/ 124998 h 1098550"/>
                  <a:gd name="connsiteX26" fmla="*/ 551423 w 1258887"/>
                  <a:gd name="connsiteY26" fmla="*/ 92855 h 1098550"/>
                  <a:gd name="connsiteX27" fmla="*/ 550710 w 1258887"/>
                  <a:gd name="connsiteY27" fmla="*/ 79284 h 1098550"/>
                  <a:gd name="connsiteX28" fmla="*/ 551423 w 1258887"/>
                  <a:gd name="connsiteY28" fmla="*/ 66427 h 1098550"/>
                  <a:gd name="connsiteX29" fmla="*/ 564975 w 1258887"/>
                  <a:gd name="connsiteY29" fmla="*/ 33571 h 1098550"/>
                  <a:gd name="connsiteX30" fmla="*/ 629881 w 1258887"/>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8887" h="1098550">
                    <a:moveTo>
                      <a:pt x="963612" y="644525"/>
                    </a:moveTo>
                    <a:cubicBezTo>
                      <a:pt x="963612" y="644525"/>
                      <a:pt x="963612" y="644525"/>
                      <a:pt x="1258887" y="644525"/>
                    </a:cubicBezTo>
                    <a:cubicBezTo>
                      <a:pt x="1256748" y="723106"/>
                      <a:pt x="1190418" y="787400"/>
                      <a:pt x="1111250" y="787400"/>
                    </a:cubicBezTo>
                    <a:cubicBezTo>
                      <a:pt x="1032795" y="787400"/>
                      <a:pt x="966465" y="723106"/>
                      <a:pt x="963612" y="644525"/>
                    </a:cubicBezTo>
                    <a:close/>
                    <a:moveTo>
                      <a:pt x="0" y="644525"/>
                    </a:moveTo>
                    <a:cubicBezTo>
                      <a:pt x="0" y="644525"/>
                      <a:pt x="0" y="644525"/>
                      <a:pt x="295275" y="644525"/>
                    </a:cubicBezTo>
                    <a:cubicBezTo>
                      <a:pt x="292422" y="723106"/>
                      <a:pt x="226092" y="787400"/>
                      <a:pt x="147637" y="787400"/>
                    </a:cubicBezTo>
                    <a:cubicBezTo>
                      <a:pt x="68469" y="787400"/>
                      <a:pt x="2139" y="723106"/>
                      <a:pt x="0" y="644525"/>
                    </a:cubicBezTo>
                    <a:close/>
                    <a:moveTo>
                      <a:pt x="629881" y="0"/>
                    </a:moveTo>
                    <a:cubicBezTo>
                      <a:pt x="631307" y="0"/>
                      <a:pt x="633447" y="0"/>
                      <a:pt x="634873" y="0"/>
                    </a:cubicBezTo>
                    <a:cubicBezTo>
                      <a:pt x="659837" y="1429"/>
                      <a:pt x="681235" y="14286"/>
                      <a:pt x="694786" y="33571"/>
                    </a:cubicBezTo>
                    <a:cubicBezTo>
                      <a:pt x="701919" y="43571"/>
                      <a:pt x="706198" y="54285"/>
                      <a:pt x="708338" y="66427"/>
                    </a:cubicBezTo>
                    <a:cubicBezTo>
                      <a:pt x="709051" y="69284"/>
                      <a:pt x="709051" y="72142"/>
                      <a:pt x="709051" y="74999"/>
                    </a:cubicBezTo>
                    <a:cubicBezTo>
                      <a:pt x="709765" y="80713"/>
                      <a:pt x="709051" y="87141"/>
                      <a:pt x="708338" y="92855"/>
                    </a:cubicBezTo>
                    <a:cubicBezTo>
                      <a:pt x="706198" y="104284"/>
                      <a:pt x="701919" y="115712"/>
                      <a:pt x="694786" y="124998"/>
                    </a:cubicBezTo>
                    <a:cubicBezTo>
                      <a:pt x="688367" y="134283"/>
                      <a:pt x="680521" y="142140"/>
                      <a:pt x="670536" y="147854"/>
                    </a:cubicBezTo>
                    <a:cubicBezTo>
                      <a:pt x="670536" y="147854"/>
                      <a:pt x="670536" y="147854"/>
                      <a:pt x="670536" y="987838"/>
                    </a:cubicBezTo>
                    <a:cubicBezTo>
                      <a:pt x="670536" y="994981"/>
                      <a:pt x="675529" y="1001409"/>
                      <a:pt x="682661" y="1002838"/>
                    </a:cubicBezTo>
                    <a:cubicBezTo>
                      <a:pt x="682661" y="1002838"/>
                      <a:pt x="682661" y="1002838"/>
                      <a:pt x="939431" y="1067837"/>
                    </a:cubicBezTo>
                    <a:cubicBezTo>
                      <a:pt x="957262" y="1072122"/>
                      <a:pt x="954409" y="1098550"/>
                      <a:pt x="935865" y="1098550"/>
                    </a:cubicBezTo>
                    <a:cubicBezTo>
                      <a:pt x="935865" y="1098550"/>
                      <a:pt x="935865" y="1098550"/>
                      <a:pt x="324610" y="1098550"/>
                    </a:cubicBezTo>
                    <a:cubicBezTo>
                      <a:pt x="306065" y="1098550"/>
                      <a:pt x="303212" y="1072122"/>
                      <a:pt x="321043" y="1067837"/>
                    </a:cubicBezTo>
                    <a:cubicBezTo>
                      <a:pt x="321043" y="1067837"/>
                      <a:pt x="321043" y="1067837"/>
                      <a:pt x="581380" y="1002838"/>
                    </a:cubicBezTo>
                    <a:cubicBezTo>
                      <a:pt x="588512" y="1001409"/>
                      <a:pt x="593505" y="994981"/>
                      <a:pt x="593505" y="987838"/>
                    </a:cubicBezTo>
                    <a:cubicBezTo>
                      <a:pt x="593505" y="987838"/>
                      <a:pt x="593505" y="987838"/>
                      <a:pt x="593505" y="149997"/>
                    </a:cubicBezTo>
                    <a:cubicBezTo>
                      <a:pt x="582093" y="144283"/>
                      <a:pt x="572107" y="135712"/>
                      <a:pt x="564975" y="124998"/>
                    </a:cubicBezTo>
                    <a:cubicBezTo>
                      <a:pt x="557842" y="115712"/>
                      <a:pt x="553563" y="104284"/>
                      <a:pt x="551423" y="92855"/>
                    </a:cubicBezTo>
                    <a:cubicBezTo>
                      <a:pt x="550710" y="88570"/>
                      <a:pt x="550710" y="83570"/>
                      <a:pt x="550710" y="79284"/>
                    </a:cubicBezTo>
                    <a:cubicBezTo>
                      <a:pt x="550710" y="74999"/>
                      <a:pt x="550710" y="70713"/>
                      <a:pt x="551423" y="66427"/>
                    </a:cubicBezTo>
                    <a:cubicBezTo>
                      <a:pt x="553563" y="54285"/>
                      <a:pt x="557842" y="43571"/>
                      <a:pt x="564975" y="33571"/>
                    </a:cubicBezTo>
                    <a:cubicBezTo>
                      <a:pt x="579240" y="12857"/>
                      <a:pt x="602777" y="0"/>
                      <a:pt x="6298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1" name="bcgIconsWhite_Gavel ">
            <a:extLst>
              <a:ext uri="{FF2B5EF4-FFF2-40B4-BE49-F238E27FC236}">
                <a16:creationId xmlns:a16="http://schemas.microsoft.com/office/drawing/2014/main" id="{12D1857E-E417-D74D-C648-17161824A0D9}"/>
              </a:ext>
            </a:extLst>
          </p:cNvPr>
          <p:cNvGrpSpPr>
            <a:grpSpLocks noChangeAspect="1"/>
          </p:cNvGrpSpPr>
          <p:nvPr/>
        </p:nvGrpSpPr>
        <p:grpSpPr>
          <a:xfrm>
            <a:off x="676897" y="4622448"/>
            <a:ext cx="365407" cy="365760"/>
            <a:chOff x="5273675" y="2605881"/>
            <a:chExt cx="1644650" cy="1646238"/>
          </a:xfrm>
        </p:grpSpPr>
        <p:sp>
          <p:nvSpPr>
            <p:cNvPr id="12" name="AutoShape 3">
              <a:extLst>
                <a:ext uri="{FF2B5EF4-FFF2-40B4-BE49-F238E27FC236}">
                  <a16:creationId xmlns:a16="http://schemas.microsoft.com/office/drawing/2014/main" id="{CE276563-DF8D-5098-47A6-2C78A4191948}"/>
                </a:ext>
              </a:extLst>
            </p:cNvPr>
            <p:cNvSpPr>
              <a:spLocks noChangeAspect="1" noChangeArrowheads="1" noTextEdit="1"/>
            </p:cNvSpPr>
            <p:nvPr/>
          </p:nvSpPr>
          <p:spPr bwMode="auto">
            <a:xfrm>
              <a:off x="5273675" y="2605881"/>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9">
              <a:extLst>
                <a:ext uri="{FF2B5EF4-FFF2-40B4-BE49-F238E27FC236}">
                  <a16:creationId xmlns:a16="http://schemas.microsoft.com/office/drawing/2014/main" id="{C3869D85-852E-25D3-03D6-89D38245F341}"/>
                </a:ext>
              </a:extLst>
            </p:cNvPr>
            <p:cNvSpPr>
              <a:spLocks/>
            </p:cNvSpPr>
            <p:nvPr/>
          </p:nvSpPr>
          <p:spPr bwMode="auto">
            <a:xfrm>
              <a:off x="5439084" y="2881045"/>
              <a:ext cx="1313830" cy="1095911"/>
            </a:xfrm>
            <a:custGeom>
              <a:avLst/>
              <a:gdLst>
                <a:gd name="connsiteX0" fmla="*/ 59994 w 1313830"/>
                <a:gd name="connsiteY0" fmla="*/ 940336 h 1095911"/>
                <a:gd name="connsiteX1" fmla="*/ 681369 w 1313830"/>
                <a:gd name="connsiteY1" fmla="*/ 940336 h 1095911"/>
                <a:gd name="connsiteX2" fmla="*/ 697081 w 1313830"/>
                <a:gd name="connsiteY2" fmla="*/ 956182 h 1095911"/>
                <a:gd name="connsiteX3" fmla="*/ 697081 w 1313830"/>
                <a:gd name="connsiteY3" fmla="*/ 1006600 h 1095911"/>
                <a:gd name="connsiteX4" fmla="*/ 725650 w 1313830"/>
                <a:gd name="connsiteY4" fmla="*/ 1006600 h 1095911"/>
                <a:gd name="connsiteX5" fmla="*/ 741363 w 1313830"/>
                <a:gd name="connsiteY5" fmla="*/ 1022445 h 1095911"/>
                <a:gd name="connsiteX6" fmla="*/ 741363 w 1313830"/>
                <a:gd name="connsiteY6" fmla="*/ 1079345 h 1095911"/>
                <a:gd name="connsiteX7" fmla="*/ 725650 w 1313830"/>
                <a:gd name="connsiteY7" fmla="*/ 1095911 h 1095911"/>
                <a:gd name="connsiteX8" fmla="*/ 15713 w 1313830"/>
                <a:gd name="connsiteY8" fmla="*/ 1095911 h 1095911"/>
                <a:gd name="connsiteX9" fmla="*/ 0 w 1313830"/>
                <a:gd name="connsiteY9" fmla="*/ 1079345 h 1095911"/>
                <a:gd name="connsiteX10" fmla="*/ 0 w 1313830"/>
                <a:gd name="connsiteY10" fmla="*/ 1022445 h 1095911"/>
                <a:gd name="connsiteX11" fmla="*/ 15713 w 1313830"/>
                <a:gd name="connsiteY11" fmla="*/ 1006600 h 1095911"/>
                <a:gd name="connsiteX12" fmla="*/ 44282 w 1313830"/>
                <a:gd name="connsiteY12" fmla="*/ 1006600 h 1095911"/>
                <a:gd name="connsiteX13" fmla="*/ 44282 w 1313830"/>
                <a:gd name="connsiteY13" fmla="*/ 956182 h 1095911"/>
                <a:gd name="connsiteX14" fmla="*/ 59994 w 1313830"/>
                <a:gd name="connsiteY14" fmla="*/ 940336 h 1095911"/>
                <a:gd name="connsiteX15" fmla="*/ 243001 w 1313830"/>
                <a:gd name="connsiteY15" fmla="*/ 537111 h 1095911"/>
                <a:gd name="connsiteX16" fmla="*/ 257312 w 1313830"/>
                <a:gd name="connsiteY16" fmla="*/ 544981 h 1095911"/>
                <a:gd name="connsiteX17" fmla="*/ 497021 w 1313830"/>
                <a:gd name="connsiteY17" fmla="*/ 632975 h 1095911"/>
                <a:gd name="connsiteX18" fmla="*/ 512763 w 1313830"/>
                <a:gd name="connsiteY18" fmla="*/ 635836 h 1095911"/>
                <a:gd name="connsiteX19" fmla="*/ 501314 w 1313830"/>
                <a:gd name="connsiteY19" fmla="*/ 667314 h 1095911"/>
                <a:gd name="connsiteX20" fmla="*/ 441208 w 1313830"/>
                <a:gd name="connsiteY20" fmla="*/ 695214 h 1095911"/>
                <a:gd name="connsiteX21" fmla="*/ 259458 w 1313830"/>
                <a:gd name="connsiteY21" fmla="*/ 628682 h 1095911"/>
                <a:gd name="connsiteX22" fmla="*/ 231552 w 1313830"/>
                <a:gd name="connsiteY22" fmla="*/ 568589 h 1095911"/>
                <a:gd name="connsiteX23" fmla="*/ 243001 w 1313830"/>
                <a:gd name="connsiteY23" fmla="*/ 537111 h 1095911"/>
                <a:gd name="connsiteX24" fmla="*/ 645447 w 1313830"/>
                <a:gd name="connsiteY24" fmla="*/ 362486 h 1095911"/>
                <a:gd name="connsiteX25" fmla="*/ 651870 w 1313830"/>
                <a:gd name="connsiteY25" fmla="*/ 363913 h 1095911"/>
                <a:gd name="connsiteX26" fmla="*/ 1284953 w 1313830"/>
                <a:gd name="connsiteY26" fmla="*/ 575083 h 1095911"/>
                <a:gd name="connsiteX27" fmla="*/ 1311361 w 1313830"/>
                <a:gd name="connsiteY27" fmla="*/ 630015 h 1095911"/>
                <a:gd name="connsiteX28" fmla="*/ 1292090 w 1313830"/>
                <a:gd name="connsiteY28" fmla="*/ 682094 h 1095911"/>
                <a:gd name="connsiteX29" fmla="*/ 1237133 w 1313830"/>
                <a:gd name="connsiteY29" fmla="*/ 706350 h 1095911"/>
                <a:gd name="connsiteX30" fmla="*/ 616897 w 1313830"/>
                <a:gd name="connsiteY30" fmla="*/ 458083 h 1095911"/>
                <a:gd name="connsiteX31" fmla="*/ 611187 w 1313830"/>
                <a:gd name="connsiteY31" fmla="*/ 454516 h 1095911"/>
                <a:gd name="connsiteX32" fmla="*/ 645447 w 1313830"/>
                <a:gd name="connsiteY32" fmla="*/ 362486 h 1095911"/>
                <a:gd name="connsiteX33" fmla="*/ 422307 w 1313830"/>
                <a:gd name="connsiteY33" fmla="*/ 93882 h 1095911"/>
                <a:gd name="connsiteX34" fmla="*/ 660988 w 1313830"/>
                <a:gd name="connsiteY34" fmla="*/ 181750 h 1095911"/>
                <a:gd name="connsiteX35" fmla="*/ 670250 w 1313830"/>
                <a:gd name="connsiteY35" fmla="*/ 201752 h 1095911"/>
                <a:gd name="connsiteX36" fmla="*/ 584040 w 1313830"/>
                <a:gd name="connsiteY36" fmla="*/ 436782 h 1095911"/>
                <a:gd name="connsiteX37" fmla="*/ 527042 w 1313830"/>
                <a:gd name="connsiteY37" fmla="*/ 592515 h 1095911"/>
                <a:gd name="connsiteX38" fmla="*/ 507093 w 1313830"/>
                <a:gd name="connsiteY38" fmla="*/ 601802 h 1095911"/>
                <a:gd name="connsiteX39" fmla="*/ 268412 w 1313830"/>
                <a:gd name="connsiteY39" fmla="*/ 514649 h 1095911"/>
                <a:gd name="connsiteX40" fmla="*/ 259150 w 1313830"/>
                <a:gd name="connsiteY40" fmla="*/ 493932 h 1095911"/>
                <a:gd name="connsiteX41" fmla="*/ 401646 w 1313830"/>
                <a:gd name="connsiteY41" fmla="*/ 103169 h 1095911"/>
                <a:gd name="connsiteX42" fmla="*/ 422307 w 1313830"/>
                <a:gd name="connsiteY42" fmla="*/ 93882 h 1095911"/>
                <a:gd name="connsiteX43" fmla="*/ 470460 w 1313830"/>
                <a:gd name="connsiteY43" fmla="*/ 63 h 1095911"/>
                <a:gd name="connsiteX44" fmla="*/ 488852 w 1313830"/>
                <a:gd name="connsiteY44" fmla="*/ 2734 h 1095911"/>
                <a:gd name="connsiteX45" fmla="*/ 670054 w 1313830"/>
                <a:gd name="connsiteY45" fmla="*/ 69694 h 1095911"/>
                <a:gd name="connsiteX46" fmla="*/ 697876 w 1313830"/>
                <a:gd name="connsiteY46" fmla="*/ 128819 h 1095911"/>
                <a:gd name="connsiteX47" fmla="*/ 685749 w 1313830"/>
                <a:gd name="connsiteY47" fmla="*/ 160874 h 1095911"/>
                <a:gd name="connsiteX48" fmla="*/ 672194 w 1313830"/>
                <a:gd name="connsiteY48" fmla="*/ 152326 h 1095911"/>
                <a:gd name="connsiteX49" fmla="*/ 433207 w 1313830"/>
                <a:gd name="connsiteY49" fmla="*/ 65420 h 1095911"/>
                <a:gd name="connsiteX50" fmla="*/ 417512 w 1313830"/>
                <a:gd name="connsiteY50" fmla="*/ 62571 h 1095911"/>
                <a:gd name="connsiteX51" fmla="*/ 428927 w 1313830"/>
                <a:gd name="connsiteY51" fmla="*/ 30516 h 1095911"/>
                <a:gd name="connsiteX52" fmla="*/ 470460 w 1313830"/>
                <a:gd name="connsiteY52" fmla="*/ 63 h 109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13830" h="1095911">
                  <a:moveTo>
                    <a:pt x="59994" y="940336"/>
                  </a:moveTo>
                  <a:cubicBezTo>
                    <a:pt x="59994" y="940336"/>
                    <a:pt x="59994" y="940336"/>
                    <a:pt x="681369" y="940336"/>
                  </a:cubicBezTo>
                  <a:cubicBezTo>
                    <a:pt x="690653" y="940336"/>
                    <a:pt x="697081" y="947539"/>
                    <a:pt x="697081" y="956182"/>
                  </a:cubicBezTo>
                  <a:cubicBezTo>
                    <a:pt x="697081" y="956182"/>
                    <a:pt x="697081" y="956182"/>
                    <a:pt x="697081" y="1006600"/>
                  </a:cubicBezTo>
                  <a:cubicBezTo>
                    <a:pt x="697081" y="1006600"/>
                    <a:pt x="697081" y="1006600"/>
                    <a:pt x="725650" y="1006600"/>
                  </a:cubicBezTo>
                  <a:cubicBezTo>
                    <a:pt x="734221" y="1006600"/>
                    <a:pt x="741363" y="1013802"/>
                    <a:pt x="741363" y="1022445"/>
                  </a:cubicBezTo>
                  <a:cubicBezTo>
                    <a:pt x="741363" y="1022445"/>
                    <a:pt x="741363" y="1022445"/>
                    <a:pt x="741363" y="1079345"/>
                  </a:cubicBezTo>
                  <a:cubicBezTo>
                    <a:pt x="741363" y="1088709"/>
                    <a:pt x="734221" y="1095911"/>
                    <a:pt x="725650" y="1095911"/>
                  </a:cubicBezTo>
                  <a:cubicBezTo>
                    <a:pt x="725650" y="1095911"/>
                    <a:pt x="725650" y="1095911"/>
                    <a:pt x="15713" y="1095911"/>
                  </a:cubicBezTo>
                  <a:cubicBezTo>
                    <a:pt x="7142" y="1095911"/>
                    <a:pt x="0" y="1088709"/>
                    <a:pt x="0" y="1079345"/>
                  </a:cubicBezTo>
                  <a:cubicBezTo>
                    <a:pt x="0" y="1079345"/>
                    <a:pt x="0" y="1079345"/>
                    <a:pt x="0" y="1022445"/>
                  </a:cubicBezTo>
                  <a:cubicBezTo>
                    <a:pt x="0" y="1013802"/>
                    <a:pt x="7142" y="1006600"/>
                    <a:pt x="15713" y="1006600"/>
                  </a:cubicBezTo>
                  <a:cubicBezTo>
                    <a:pt x="15713" y="1006600"/>
                    <a:pt x="15713" y="1006600"/>
                    <a:pt x="44282" y="1006600"/>
                  </a:cubicBezTo>
                  <a:cubicBezTo>
                    <a:pt x="44282" y="1006600"/>
                    <a:pt x="44282" y="1006600"/>
                    <a:pt x="44282" y="956182"/>
                  </a:cubicBezTo>
                  <a:cubicBezTo>
                    <a:pt x="44282" y="947539"/>
                    <a:pt x="51424" y="940336"/>
                    <a:pt x="59994" y="940336"/>
                  </a:cubicBezTo>
                  <a:close/>
                  <a:moveTo>
                    <a:pt x="243001" y="537111"/>
                  </a:moveTo>
                  <a:cubicBezTo>
                    <a:pt x="247294" y="539973"/>
                    <a:pt x="251587" y="542834"/>
                    <a:pt x="257312" y="544981"/>
                  </a:cubicBezTo>
                  <a:cubicBezTo>
                    <a:pt x="257312" y="544981"/>
                    <a:pt x="257312" y="544981"/>
                    <a:pt x="497021" y="632975"/>
                  </a:cubicBezTo>
                  <a:cubicBezTo>
                    <a:pt x="502030" y="634405"/>
                    <a:pt x="507039" y="635836"/>
                    <a:pt x="512763" y="635836"/>
                  </a:cubicBezTo>
                  <a:cubicBezTo>
                    <a:pt x="512763" y="635836"/>
                    <a:pt x="512763" y="635836"/>
                    <a:pt x="501314" y="667314"/>
                  </a:cubicBezTo>
                  <a:cubicBezTo>
                    <a:pt x="492012" y="691637"/>
                    <a:pt x="465537" y="703799"/>
                    <a:pt x="441208" y="695214"/>
                  </a:cubicBezTo>
                  <a:cubicBezTo>
                    <a:pt x="441208" y="695214"/>
                    <a:pt x="441208" y="695214"/>
                    <a:pt x="259458" y="628682"/>
                  </a:cubicBezTo>
                  <a:cubicBezTo>
                    <a:pt x="235130" y="619382"/>
                    <a:pt x="222250" y="592912"/>
                    <a:pt x="231552" y="568589"/>
                  </a:cubicBezTo>
                  <a:cubicBezTo>
                    <a:pt x="231552" y="568589"/>
                    <a:pt x="231552" y="568589"/>
                    <a:pt x="243001" y="537111"/>
                  </a:cubicBezTo>
                  <a:close/>
                  <a:moveTo>
                    <a:pt x="645447" y="362486"/>
                  </a:moveTo>
                  <a:cubicBezTo>
                    <a:pt x="647588" y="362486"/>
                    <a:pt x="649729" y="363200"/>
                    <a:pt x="651870" y="363913"/>
                  </a:cubicBezTo>
                  <a:cubicBezTo>
                    <a:pt x="651870" y="363913"/>
                    <a:pt x="651870" y="363913"/>
                    <a:pt x="1284953" y="575083"/>
                  </a:cubicBezTo>
                  <a:cubicBezTo>
                    <a:pt x="1307792" y="582930"/>
                    <a:pt x="1319212" y="607186"/>
                    <a:pt x="1311361" y="630015"/>
                  </a:cubicBezTo>
                  <a:cubicBezTo>
                    <a:pt x="1311361" y="630015"/>
                    <a:pt x="1311361" y="630015"/>
                    <a:pt x="1292090" y="682094"/>
                  </a:cubicBezTo>
                  <a:cubicBezTo>
                    <a:pt x="1284239" y="704210"/>
                    <a:pt x="1259258" y="714911"/>
                    <a:pt x="1237133" y="706350"/>
                  </a:cubicBezTo>
                  <a:cubicBezTo>
                    <a:pt x="1237133" y="706350"/>
                    <a:pt x="1237133" y="706350"/>
                    <a:pt x="616897" y="458083"/>
                  </a:cubicBezTo>
                  <a:cubicBezTo>
                    <a:pt x="614756" y="457370"/>
                    <a:pt x="613328" y="455943"/>
                    <a:pt x="611187" y="454516"/>
                  </a:cubicBezTo>
                  <a:cubicBezTo>
                    <a:pt x="611187" y="454516"/>
                    <a:pt x="611187" y="454516"/>
                    <a:pt x="645447" y="362486"/>
                  </a:cubicBezTo>
                  <a:close/>
                  <a:moveTo>
                    <a:pt x="422307" y="93882"/>
                  </a:moveTo>
                  <a:cubicBezTo>
                    <a:pt x="422307" y="93882"/>
                    <a:pt x="422307" y="93882"/>
                    <a:pt x="660988" y="181750"/>
                  </a:cubicBezTo>
                  <a:cubicBezTo>
                    <a:pt x="668825" y="184607"/>
                    <a:pt x="673100" y="193894"/>
                    <a:pt x="670250" y="201752"/>
                  </a:cubicBezTo>
                  <a:cubicBezTo>
                    <a:pt x="670250" y="201752"/>
                    <a:pt x="670250" y="201752"/>
                    <a:pt x="584040" y="436782"/>
                  </a:cubicBezTo>
                  <a:cubicBezTo>
                    <a:pt x="584040" y="436782"/>
                    <a:pt x="584040" y="436782"/>
                    <a:pt x="527042" y="592515"/>
                  </a:cubicBezTo>
                  <a:cubicBezTo>
                    <a:pt x="524192" y="601088"/>
                    <a:pt x="514930" y="605374"/>
                    <a:pt x="507093" y="601802"/>
                  </a:cubicBezTo>
                  <a:cubicBezTo>
                    <a:pt x="507093" y="601802"/>
                    <a:pt x="507093" y="601802"/>
                    <a:pt x="268412" y="514649"/>
                  </a:cubicBezTo>
                  <a:cubicBezTo>
                    <a:pt x="259862" y="511077"/>
                    <a:pt x="255587" y="502504"/>
                    <a:pt x="259150" y="493932"/>
                  </a:cubicBezTo>
                  <a:cubicBezTo>
                    <a:pt x="259150" y="493932"/>
                    <a:pt x="259150" y="493932"/>
                    <a:pt x="401646" y="103169"/>
                  </a:cubicBezTo>
                  <a:cubicBezTo>
                    <a:pt x="405208" y="95310"/>
                    <a:pt x="413758" y="91024"/>
                    <a:pt x="422307" y="93882"/>
                  </a:cubicBezTo>
                  <a:close/>
                  <a:moveTo>
                    <a:pt x="470460" y="63"/>
                  </a:moveTo>
                  <a:cubicBezTo>
                    <a:pt x="476546" y="-249"/>
                    <a:pt x="482788" y="597"/>
                    <a:pt x="488852" y="2734"/>
                  </a:cubicBezTo>
                  <a:cubicBezTo>
                    <a:pt x="488852" y="2734"/>
                    <a:pt x="488852" y="2734"/>
                    <a:pt x="670054" y="69694"/>
                  </a:cubicBezTo>
                  <a:cubicBezTo>
                    <a:pt x="694310" y="78242"/>
                    <a:pt x="706437" y="104599"/>
                    <a:pt x="697876" y="128819"/>
                  </a:cubicBezTo>
                  <a:cubicBezTo>
                    <a:pt x="697876" y="128819"/>
                    <a:pt x="697876" y="128819"/>
                    <a:pt x="685749" y="160874"/>
                  </a:cubicBezTo>
                  <a:cubicBezTo>
                    <a:pt x="682182" y="157312"/>
                    <a:pt x="677188" y="154463"/>
                    <a:pt x="672194" y="152326"/>
                  </a:cubicBezTo>
                  <a:lnTo>
                    <a:pt x="433207" y="65420"/>
                  </a:lnTo>
                  <a:cubicBezTo>
                    <a:pt x="428213" y="63283"/>
                    <a:pt x="422506" y="62571"/>
                    <a:pt x="417512" y="62571"/>
                  </a:cubicBezTo>
                  <a:cubicBezTo>
                    <a:pt x="417512" y="62571"/>
                    <a:pt x="417512" y="62571"/>
                    <a:pt x="428927" y="30516"/>
                  </a:cubicBezTo>
                  <a:cubicBezTo>
                    <a:pt x="435347" y="12351"/>
                    <a:pt x="452201" y="998"/>
                    <a:pt x="470460" y="6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61" name="bcgIcons_Assignment ">
            <a:extLst>
              <a:ext uri="{FF2B5EF4-FFF2-40B4-BE49-F238E27FC236}">
                <a16:creationId xmlns:a16="http://schemas.microsoft.com/office/drawing/2014/main" id="{26EF7A39-321D-191D-A7B7-19170DB0D78F}"/>
              </a:ext>
            </a:extLst>
          </p:cNvPr>
          <p:cNvGrpSpPr>
            <a:grpSpLocks noChangeAspect="1"/>
          </p:cNvGrpSpPr>
          <p:nvPr/>
        </p:nvGrpSpPr>
        <p:grpSpPr>
          <a:xfrm>
            <a:off x="676729" y="5715781"/>
            <a:ext cx="365760" cy="365760"/>
            <a:chOff x="5294313" y="2627313"/>
            <a:chExt cx="1603375" cy="1603375"/>
          </a:xfrm>
        </p:grpSpPr>
        <p:sp>
          <p:nvSpPr>
            <p:cNvPr id="162" name="AutoShape 3">
              <a:extLst>
                <a:ext uri="{FF2B5EF4-FFF2-40B4-BE49-F238E27FC236}">
                  <a16:creationId xmlns:a16="http://schemas.microsoft.com/office/drawing/2014/main" id="{AAA1A18B-7304-8723-3A7A-1DE6746B69A4}"/>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3" name="Group 162">
              <a:extLst>
                <a:ext uri="{FF2B5EF4-FFF2-40B4-BE49-F238E27FC236}">
                  <a16:creationId xmlns:a16="http://schemas.microsoft.com/office/drawing/2014/main" id="{9298F3E8-D61C-D293-5269-E96ED415064D}"/>
                </a:ext>
              </a:extLst>
            </p:cNvPr>
            <p:cNvGrpSpPr/>
            <p:nvPr/>
          </p:nvGrpSpPr>
          <p:grpSpPr>
            <a:xfrm>
              <a:off x="5657851" y="2792413"/>
              <a:ext cx="876300" cy="1273175"/>
              <a:chOff x="5657851" y="2792413"/>
              <a:chExt cx="876300" cy="1273175"/>
            </a:xfrm>
          </p:grpSpPr>
          <p:sp>
            <p:nvSpPr>
              <p:cNvPr id="164" name="Freeform 28">
                <a:extLst>
                  <a:ext uri="{FF2B5EF4-FFF2-40B4-BE49-F238E27FC236}">
                    <a16:creationId xmlns:a16="http://schemas.microsoft.com/office/drawing/2014/main" id="{93A607D6-C826-6964-04F0-E99C2873AA06}"/>
                  </a:ext>
                </a:extLst>
              </p:cNvPr>
              <p:cNvSpPr>
                <a:spLocks/>
              </p:cNvSpPr>
              <p:nvPr/>
            </p:nvSpPr>
            <p:spPr bwMode="auto">
              <a:xfrm>
                <a:off x="5657851" y="2903538"/>
                <a:ext cx="876300" cy="1162050"/>
              </a:xfrm>
              <a:custGeom>
                <a:avLst/>
                <a:gdLst>
                  <a:gd name="connsiteX0" fmla="*/ 379482 w 876300"/>
                  <a:gd name="connsiteY0" fmla="*/ 796821 h 1162050"/>
                  <a:gd name="connsiteX1" fmla="*/ 400879 w 876300"/>
                  <a:gd name="connsiteY1" fmla="*/ 796821 h 1162050"/>
                  <a:gd name="connsiteX2" fmla="*/ 400879 w 876300"/>
                  <a:gd name="connsiteY2" fmla="*/ 818333 h 1162050"/>
                  <a:gd name="connsiteX3" fmla="*/ 371199 w 876300"/>
                  <a:gd name="connsiteY3" fmla="*/ 848172 h 1162050"/>
                  <a:gd name="connsiteX4" fmla="*/ 340830 w 876300"/>
                  <a:gd name="connsiteY4" fmla="*/ 878706 h 1162050"/>
                  <a:gd name="connsiteX5" fmla="*/ 317362 w 876300"/>
                  <a:gd name="connsiteY5" fmla="*/ 902299 h 1162050"/>
                  <a:gd name="connsiteX6" fmla="*/ 306319 w 876300"/>
                  <a:gd name="connsiteY6" fmla="*/ 906463 h 1162050"/>
                  <a:gd name="connsiteX7" fmla="*/ 295965 w 876300"/>
                  <a:gd name="connsiteY7" fmla="*/ 902299 h 1162050"/>
                  <a:gd name="connsiteX8" fmla="*/ 269737 w 876300"/>
                  <a:gd name="connsiteY8" fmla="*/ 875236 h 1162050"/>
                  <a:gd name="connsiteX9" fmla="*/ 269737 w 876300"/>
                  <a:gd name="connsiteY9" fmla="*/ 853724 h 1162050"/>
                  <a:gd name="connsiteX10" fmla="*/ 291134 w 876300"/>
                  <a:gd name="connsiteY10" fmla="*/ 853724 h 1162050"/>
                  <a:gd name="connsiteX11" fmla="*/ 306319 w 876300"/>
                  <a:gd name="connsiteY11" fmla="*/ 869684 h 1162050"/>
                  <a:gd name="connsiteX12" fmla="*/ 338759 w 876300"/>
                  <a:gd name="connsiteY12" fmla="*/ 837069 h 1162050"/>
                  <a:gd name="connsiteX13" fmla="*/ 365677 w 876300"/>
                  <a:gd name="connsiteY13" fmla="*/ 810005 h 1162050"/>
                  <a:gd name="connsiteX14" fmla="*/ 379482 w 876300"/>
                  <a:gd name="connsiteY14" fmla="*/ 796821 h 1162050"/>
                  <a:gd name="connsiteX15" fmla="*/ 379482 w 876300"/>
                  <a:gd name="connsiteY15" fmla="*/ 526252 h 1162050"/>
                  <a:gd name="connsiteX16" fmla="*/ 400879 w 876300"/>
                  <a:gd name="connsiteY16" fmla="*/ 526252 h 1162050"/>
                  <a:gd name="connsiteX17" fmla="*/ 400879 w 876300"/>
                  <a:gd name="connsiteY17" fmla="*/ 548458 h 1162050"/>
                  <a:gd name="connsiteX18" fmla="*/ 371199 w 876300"/>
                  <a:gd name="connsiteY18" fmla="*/ 578297 h 1162050"/>
                  <a:gd name="connsiteX19" fmla="*/ 340830 w 876300"/>
                  <a:gd name="connsiteY19" fmla="*/ 608831 h 1162050"/>
                  <a:gd name="connsiteX20" fmla="*/ 317362 w 876300"/>
                  <a:gd name="connsiteY20" fmla="*/ 631731 h 1162050"/>
                  <a:gd name="connsiteX21" fmla="*/ 306319 w 876300"/>
                  <a:gd name="connsiteY21" fmla="*/ 636588 h 1162050"/>
                  <a:gd name="connsiteX22" fmla="*/ 295965 w 876300"/>
                  <a:gd name="connsiteY22" fmla="*/ 631731 h 1162050"/>
                  <a:gd name="connsiteX23" fmla="*/ 269737 w 876300"/>
                  <a:gd name="connsiteY23" fmla="*/ 605361 h 1162050"/>
                  <a:gd name="connsiteX24" fmla="*/ 269737 w 876300"/>
                  <a:gd name="connsiteY24" fmla="*/ 583849 h 1162050"/>
                  <a:gd name="connsiteX25" fmla="*/ 291134 w 876300"/>
                  <a:gd name="connsiteY25" fmla="*/ 583849 h 1162050"/>
                  <a:gd name="connsiteX26" fmla="*/ 306319 w 876300"/>
                  <a:gd name="connsiteY26" fmla="*/ 599809 h 1162050"/>
                  <a:gd name="connsiteX27" fmla="*/ 338759 w 876300"/>
                  <a:gd name="connsiteY27" fmla="*/ 567194 h 1162050"/>
                  <a:gd name="connsiteX28" fmla="*/ 365677 w 876300"/>
                  <a:gd name="connsiteY28" fmla="*/ 540130 h 1162050"/>
                  <a:gd name="connsiteX29" fmla="*/ 379482 w 876300"/>
                  <a:gd name="connsiteY29" fmla="*/ 526252 h 1162050"/>
                  <a:gd name="connsiteX30" fmla="*/ 379482 w 876300"/>
                  <a:gd name="connsiteY30" fmla="*/ 252309 h 1162050"/>
                  <a:gd name="connsiteX31" fmla="*/ 400879 w 876300"/>
                  <a:gd name="connsiteY31" fmla="*/ 252309 h 1162050"/>
                  <a:gd name="connsiteX32" fmla="*/ 400879 w 876300"/>
                  <a:gd name="connsiteY32" fmla="*/ 273821 h 1162050"/>
                  <a:gd name="connsiteX33" fmla="*/ 371199 w 876300"/>
                  <a:gd name="connsiteY33" fmla="*/ 303660 h 1162050"/>
                  <a:gd name="connsiteX34" fmla="*/ 340830 w 876300"/>
                  <a:gd name="connsiteY34" fmla="*/ 334194 h 1162050"/>
                  <a:gd name="connsiteX35" fmla="*/ 317362 w 876300"/>
                  <a:gd name="connsiteY35" fmla="*/ 357787 h 1162050"/>
                  <a:gd name="connsiteX36" fmla="*/ 306319 w 876300"/>
                  <a:gd name="connsiteY36" fmla="*/ 361951 h 1162050"/>
                  <a:gd name="connsiteX37" fmla="*/ 295965 w 876300"/>
                  <a:gd name="connsiteY37" fmla="*/ 357787 h 1162050"/>
                  <a:gd name="connsiteX38" fmla="*/ 269737 w 876300"/>
                  <a:gd name="connsiteY38" fmla="*/ 331418 h 1162050"/>
                  <a:gd name="connsiteX39" fmla="*/ 269737 w 876300"/>
                  <a:gd name="connsiteY39" fmla="*/ 309906 h 1162050"/>
                  <a:gd name="connsiteX40" fmla="*/ 291134 w 876300"/>
                  <a:gd name="connsiteY40" fmla="*/ 309906 h 1162050"/>
                  <a:gd name="connsiteX41" fmla="*/ 306319 w 876300"/>
                  <a:gd name="connsiteY41" fmla="*/ 325172 h 1162050"/>
                  <a:gd name="connsiteX42" fmla="*/ 338759 w 876300"/>
                  <a:gd name="connsiteY42" fmla="*/ 292557 h 1162050"/>
                  <a:gd name="connsiteX43" fmla="*/ 365677 w 876300"/>
                  <a:gd name="connsiteY43" fmla="*/ 266187 h 1162050"/>
                  <a:gd name="connsiteX44" fmla="*/ 379482 w 876300"/>
                  <a:gd name="connsiteY44" fmla="*/ 252309 h 1162050"/>
                  <a:gd name="connsiteX45" fmla="*/ 15325 w 876300"/>
                  <a:gd name="connsiteY45" fmla="*/ 0 h 1162050"/>
                  <a:gd name="connsiteX46" fmla="*/ 266095 w 876300"/>
                  <a:gd name="connsiteY46" fmla="*/ 0 h 1162050"/>
                  <a:gd name="connsiteX47" fmla="*/ 266095 w 876300"/>
                  <a:gd name="connsiteY47" fmla="*/ 30617 h 1162050"/>
                  <a:gd name="connsiteX48" fmla="*/ 30650 w 876300"/>
                  <a:gd name="connsiteY48" fmla="*/ 30617 h 1162050"/>
                  <a:gd name="connsiteX49" fmla="*/ 30650 w 876300"/>
                  <a:gd name="connsiteY49" fmla="*/ 1131433 h 1162050"/>
                  <a:gd name="connsiteX50" fmla="*/ 845651 w 876300"/>
                  <a:gd name="connsiteY50" fmla="*/ 1131433 h 1162050"/>
                  <a:gd name="connsiteX51" fmla="*/ 845651 w 876300"/>
                  <a:gd name="connsiteY51" fmla="*/ 30617 h 1162050"/>
                  <a:gd name="connsiteX52" fmla="*/ 610206 w 876300"/>
                  <a:gd name="connsiteY52" fmla="*/ 30617 h 1162050"/>
                  <a:gd name="connsiteX53" fmla="*/ 610206 w 876300"/>
                  <a:gd name="connsiteY53" fmla="*/ 0 h 1162050"/>
                  <a:gd name="connsiteX54" fmla="*/ 860975 w 876300"/>
                  <a:gd name="connsiteY54" fmla="*/ 0 h 1162050"/>
                  <a:gd name="connsiteX55" fmla="*/ 876300 w 876300"/>
                  <a:gd name="connsiteY55" fmla="*/ 15309 h 1162050"/>
                  <a:gd name="connsiteX56" fmla="*/ 876300 w 876300"/>
                  <a:gd name="connsiteY56" fmla="*/ 1146742 h 1162050"/>
                  <a:gd name="connsiteX57" fmla="*/ 860975 w 876300"/>
                  <a:gd name="connsiteY57" fmla="*/ 1162050 h 1162050"/>
                  <a:gd name="connsiteX58" fmla="*/ 15325 w 876300"/>
                  <a:gd name="connsiteY58" fmla="*/ 1162050 h 1162050"/>
                  <a:gd name="connsiteX59" fmla="*/ 0 w 876300"/>
                  <a:gd name="connsiteY59" fmla="*/ 1146742 h 1162050"/>
                  <a:gd name="connsiteX60" fmla="*/ 0 w 876300"/>
                  <a:gd name="connsiteY60" fmla="*/ 15309 h 1162050"/>
                  <a:gd name="connsiteX61" fmla="*/ 15325 w 876300"/>
                  <a:gd name="connsiteY61" fmla="*/ 0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76300" h="1162050">
                    <a:moveTo>
                      <a:pt x="379482" y="796821"/>
                    </a:moveTo>
                    <a:cubicBezTo>
                      <a:pt x="385004" y="790575"/>
                      <a:pt x="394667" y="790575"/>
                      <a:pt x="400879" y="796821"/>
                    </a:cubicBezTo>
                    <a:cubicBezTo>
                      <a:pt x="406400" y="802372"/>
                      <a:pt x="406400" y="812087"/>
                      <a:pt x="400879" y="818333"/>
                    </a:cubicBezTo>
                    <a:cubicBezTo>
                      <a:pt x="400879" y="818333"/>
                      <a:pt x="400879" y="818333"/>
                      <a:pt x="371199" y="848172"/>
                    </a:cubicBezTo>
                    <a:cubicBezTo>
                      <a:pt x="371199" y="848172"/>
                      <a:pt x="371199" y="848172"/>
                      <a:pt x="340830" y="878706"/>
                    </a:cubicBezTo>
                    <a:cubicBezTo>
                      <a:pt x="340830" y="878706"/>
                      <a:pt x="340830" y="878706"/>
                      <a:pt x="317362" y="902299"/>
                    </a:cubicBezTo>
                    <a:cubicBezTo>
                      <a:pt x="314601" y="905075"/>
                      <a:pt x="310460" y="906463"/>
                      <a:pt x="306319" y="906463"/>
                    </a:cubicBezTo>
                    <a:cubicBezTo>
                      <a:pt x="302868" y="906463"/>
                      <a:pt x="298726" y="905075"/>
                      <a:pt x="295965" y="902299"/>
                    </a:cubicBezTo>
                    <a:cubicBezTo>
                      <a:pt x="295965" y="902299"/>
                      <a:pt x="295965" y="902299"/>
                      <a:pt x="269737" y="875236"/>
                    </a:cubicBezTo>
                    <a:cubicBezTo>
                      <a:pt x="263525" y="869684"/>
                      <a:pt x="263525" y="859969"/>
                      <a:pt x="269737" y="853724"/>
                    </a:cubicBezTo>
                    <a:cubicBezTo>
                      <a:pt x="275259" y="848172"/>
                      <a:pt x="284922" y="848172"/>
                      <a:pt x="291134" y="853724"/>
                    </a:cubicBezTo>
                    <a:cubicBezTo>
                      <a:pt x="291134" y="853724"/>
                      <a:pt x="291134" y="853724"/>
                      <a:pt x="306319" y="869684"/>
                    </a:cubicBezTo>
                    <a:cubicBezTo>
                      <a:pt x="306319" y="869684"/>
                      <a:pt x="306319" y="869684"/>
                      <a:pt x="338759" y="837069"/>
                    </a:cubicBezTo>
                    <a:cubicBezTo>
                      <a:pt x="338759" y="837069"/>
                      <a:pt x="338759" y="837069"/>
                      <a:pt x="365677" y="810005"/>
                    </a:cubicBezTo>
                    <a:cubicBezTo>
                      <a:pt x="365677" y="810005"/>
                      <a:pt x="365677" y="810005"/>
                      <a:pt x="379482" y="796821"/>
                    </a:cubicBezTo>
                    <a:close/>
                    <a:moveTo>
                      <a:pt x="379482" y="526252"/>
                    </a:moveTo>
                    <a:cubicBezTo>
                      <a:pt x="385004" y="520700"/>
                      <a:pt x="394667" y="520700"/>
                      <a:pt x="400879" y="526252"/>
                    </a:cubicBezTo>
                    <a:cubicBezTo>
                      <a:pt x="406400" y="532497"/>
                      <a:pt x="406400" y="542212"/>
                      <a:pt x="400879" y="548458"/>
                    </a:cubicBezTo>
                    <a:cubicBezTo>
                      <a:pt x="400879" y="548458"/>
                      <a:pt x="400879" y="548458"/>
                      <a:pt x="371199" y="578297"/>
                    </a:cubicBezTo>
                    <a:cubicBezTo>
                      <a:pt x="371199" y="578297"/>
                      <a:pt x="371199" y="578297"/>
                      <a:pt x="340830" y="608831"/>
                    </a:cubicBezTo>
                    <a:cubicBezTo>
                      <a:pt x="340830" y="608831"/>
                      <a:pt x="340830" y="608831"/>
                      <a:pt x="317362" y="631731"/>
                    </a:cubicBezTo>
                    <a:cubicBezTo>
                      <a:pt x="314601" y="635200"/>
                      <a:pt x="310460" y="636588"/>
                      <a:pt x="306319" y="636588"/>
                    </a:cubicBezTo>
                    <a:cubicBezTo>
                      <a:pt x="302868" y="636588"/>
                      <a:pt x="298726" y="635200"/>
                      <a:pt x="295965" y="631731"/>
                    </a:cubicBezTo>
                    <a:cubicBezTo>
                      <a:pt x="295965" y="631731"/>
                      <a:pt x="295965" y="631731"/>
                      <a:pt x="269737" y="605361"/>
                    </a:cubicBezTo>
                    <a:cubicBezTo>
                      <a:pt x="263525" y="599809"/>
                      <a:pt x="263525" y="590094"/>
                      <a:pt x="269737" y="583849"/>
                    </a:cubicBezTo>
                    <a:cubicBezTo>
                      <a:pt x="275259" y="578297"/>
                      <a:pt x="284922" y="578297"/>
                      <a:pt x="291134" y="583849"/>
                    </a:cubicBezTo>
                    <a:cubicBezTo>
                      <a:pt x="291134" y="583849"/>
                      <a:pt x="291134" y="583849"/>
                      <a:pt x="306319" y="599809"/>
                    </a:cubicBezTo>
                    <a:cubicBezTo>
                      <a:pt x="306319" y="599809"/>
                      <a:pt x="306319" y="599809"/>
                      <a:pt x="338759" y="567194"/>
                    </a:cubicBezTo>
                    <a:cubicBezTo>
                      <a:pt x="338759" y="567194"/>
                      <a:pt x="338759" y="567194"/>
                      <a:pt x="365677" y="540130"/>
                    </a:cubicBezTo>
                    <a:cubicBezTo>
                      <a:pt x="365677" y="540130"/>
                      <a:pt x="365677" y="540130"/>
                      <a:pt x="379482" y="526252"/>
                    </a:cubicBezTo>
                    <a:close/>
                    <a:moveTo>
                      <a:pt x="379482" y="252309"/>
                    </a:moveTo>
                    <a:cubicBezTo>
                      <a:pt x="385004" y="246063"/>
                      <a:pt x="394667" y="246063"/>
                      <a:pt x="400879" y="252309"/>
                    </a:cubicBezTo>
                    <a:cubicBezTo>
                      <a:pt x="406400" y="258554"/>
                      <a:pt x="406400" y="267575"/>
                      <a:pt x="400879" y="273821"/>
                    </a:cubicBezTo>
                    <a:cubicBezTo>
                      <a:pt x="400879" y="273821"/>
                      <a:pt x="400879" y="273821"/>
                      <a:pt x="371199" y="303660"/>
                    </a:cubicBezTo>
                    <a:cubicBezTo>
                      <a:pt x="371199" y="303660"/>
                      <a:pt x="371199" y="303660"/>
                      <a:pt x="340830" y="334194"/>
                    </a:cubicBezTo>
                    <a:cubicBezTo>
                      <a:pt x="340830" y="334194"/>
                      <a:pt x="340830" y="334194"/>
                      <a:pt x="317362" y="357787"/>
                    </a:cubicBezTo>
                    <a:cubicBezTo>
                      <a:pt x="314601" y="360563"/>
                      <a:pt x="310460" y="361951"/>
                      <a:pt x="306319" y="361951"/>
                    </a:cubicBezTo>
                    <a:cubicBezTo>
                      <a:pt x="302868" y="361951"/>
                      <a:pt x="298726" y="360563"/>
                      <a:pt x="295965" y="357787"/>
                    </a:cubicBezTo>
                    <a:cubicBezTo>
                      <a:pt x="295965" y="357787"/>
                      <a:pt x="295965" y="357787"/>
                      <a:pt x="269737" y="331418"/>
                    </a:cubicBezTo>
                    <a:cubicBezTo>
                      <a:pt x="263525" y="325172"/>
                      <a:pt x="263525" y="315457"/>
                      <a:pt x="269737" y="309906"/>
                    </a:cubicBezTo>
                    <a:cubicBezTo>
                      <a:pt x="275259" y="303660"/>
                      <a:pt x="284922" y="303660"/>
                      <a:pt x="291134" y="309906"/>
                    </a:cubicBezTo>
                    <a:cubicBezTo>
                      <a:pt x="291134" y="309906"/>
                      <a:pt x="291134" y="309906"/>
                      <a:pt x="306319" y="325172"/>
                    </a:cubicBezTo>
                    <a:cubicBezTo>
                      <a:pt x="306319" y="325172"/>
                      <a:pt x="306319" y="325172"/>
                      <a:pt x="338759" y="292557"/>
                    </a:cubicBezTo>
                    <a:cubicBezTo>
                      <a:pt x="338759" y="292557"/>
                      <a:pt x="338759" y="292557"/>
                      <a:pt x="365677" y="266187"/>
                    </a:cubicBezTo>
                    <a:cubicBezTo>
                      <a:pt x="365677" y="266187"/>
                      <a:pt x="365677" y="266187"/>
                      <a:pt x="379482" y="252309"/>
                    </a:cubicBezTo>
                    <a:close/>
                    <a:moveTo>
                      <a:pt x="15325" y="0"/>
                    </a:moveTo>
                    <a:cubicBezTo>
                      <a:pt x="15325" y="0"/>
                      <a:pt x="15325" y="0"/>
                      <a:pt x="266095" y="0"/>
                    </a:cubicBezTo>
                    <a:cubicBezTo>
                      <a:pt x="266095" y="0"/>
                      <a:pt x="266095" y="0"/>
                      <a:pt x="266095" y="30617"/>
                    </a:cubicBezTo>
                    <a:cubicBezTo>
                      <a:pt x="266095" y="30617"/>
                      <a:pt x="266095" y="30617"/>
                      <a:pt x="30650" y="30617"/>
                    </a:cubicBezTo>
                    <a:cubicBezTo>
                      <a:pt x="30650" y="30617"/>
                      <a:pt x="30650" y="30617"/>
                      <a:pt x="30650" y="1131433"/>
                    </a:cubicBezTo>
                    <a:cubicBezTo>
                      <a:pt x="30650" y="1131433"/>
                      <a:pt x="30650" y="1131433"/>
                      <a:pt x="845651" y="1131433"/>
                    </a:cubicBezTo>
                    <a:cubicBezTo>
                      <a:pt x="845651" y="1131433"/>
                      <a:pt x="845651" y="1131433"/>
                      <a:pt x="845651" y="30617"/>
                    </a:cubicBezTo>
                    <a:cubicBezTo>
                      <a:pt x="845651" y="30617"/>
                      <a:pt x="845651" y="30617"/>
                      <a:pt x="610206" y="30617"/>
                    </a:cubicBezTo>
                    <a:cubicBezTo>
                      <a:pt x="610206" y="30617"/>
                      <a:pt x="610206" y="30617"/>
                      <a:pt x="610206" y="0"/>
                    </a:cubicBezTo>
                    <a:cubicBezTo>
                      <a:pt x="610206" y="0"/>
                      <a:pt x="610206" y="0"/>
                      <a:pt x="860975" y="0"/>
                    </a:cubicBezTo>
                    <a:cubicBezTo>
                      <a:pt x="870031" y="0"/>
                      <a:pt x="876300" y="6959"/>
                      <a:pt x="876300" y="15309"/>
                    </a:cubicBezTo>
                    <a:cubicBezTo>
                      <a:pt x="876300" y="15309"/>
                      <a:pt x="876300" y="15309"/>
                      <a:pt x="876300" y="1146742"/>
                    </a:cubicBezTo>
                    <a:cubicBezTo>
                      <a:pt x="876300" y="1155788"/>
                      <a:pt x="870031" y="1162050"/>
                      <a:pt x="860975" y="1162050"/>
                    </a:cubicBezTo>
                    <a:cubicBezTo>
                      <a:pt x="860975" y="1162050"/>
                      <a:pt x="860975" y="1162050"/>
                      <a:pt x="15325" y="1162050"/>
                    </a:cubicBezTo>
                    <a:cubicBezTo>
                      <a:pt x="6269" y="1162050"/>
                      <a:pt x="0" y="1155788"/>
                      <a:pt x="0" y="1146742"/>
                    </a:cubicBezTo>
                    <a:cubicBezTo>
                      <a:pt x="0" y="1146742"/>
                      <a:pt x="0" y="1146742"/>
                      <a:pt x="0" y="15309"/>
                    </a:cubicBezTo>
                    <a:cubicBezTo>
                      <a:pt x="0" y="6959"/>
                      <a:pt x="6269" y="0"/>
                      <a:pt x="153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5" name="Freeform 29">
                <a:extLst>
                  <a:ext uri="{FF2B5EF4-FFF2-40B4-BE49-F238E27FC236}">
                    <a16:creationId xmlns:a16="http://schemas.microsoft.com/office/drawing/2014/main" id="{30E22A08-9221-C3D4-0DAE-0794C93BB7D0}"/>
                  </a:ext>
                </a:extLst>
              </p:cNvPr>
              <p:cNvSpPr>
                <a:spLocks/>
              </p:cNvSpPr>
              <p:nvPr/>
            </p:nvSpPr>
            <p:spPr bwMode="auto">
              <a:xfrm>
                <a:off x="5880100" y="2792413"/>
                <a:ext cx="420688" cy="1066800"/>
              </a:xfrm>
              <a:custGeom>
                <a:avLst/>
                <a:gdLst>
                  <a:gd name="connsiteX0" fmla="*/ 373817 w 420688"/>
                  <a:gd name="connsiteY0" fmla="*/ 923925 h 1066800"/>
                  <a:gd name="connsiteX1" fmla="*/ 406784 w 420688"/>
                  <a:gd name="connsiteY1" fmla="*/ 930891 h 1066800"/>
                  <a:gd name="connsiteX2" fmla="*/ 408844 w 420688"/>
                  <a:gd name="connsiteY2" fmla="*/ 932284 h 1066800"/>
                  <a:gd name="connsiteX3" fmla="*/ 401289 w 420688"/>
                  <a:gd name="connsiteY3" fmla="*/ 952484 h 1066800"/>
                  <a:gd name="connsiteX4" fmla="*/ 398542 w 420688"/>
                  <a:gd name="connsiteY4" fmla="*/ 950394 h 1066800"/>
                  <a:gd name="connsiteX5" fmla="*/ 374504 w 420688"/>
                  <a:gd name="connsiteY5" fmla="*/ 944822 h 1066800"/>
                  <a:gd name="connsiteX6" fmla="*/ 349780 w 420688"/>
                  <a:gd name="connsiteY6" fmla="*/ 958056 h 1066800"/>
                  <a:gd name="connsiteX7" fmla="*/ 340851 w 420688"/>
                  <a:gd name="connsiteY7" fmla="*/ 993581 h 1066800"/>
                  <a:gd name="connsiteX8" fmla="*/ 350466 w 420688"/>
                  <a:gd name="connsiteY8" fmla="*/ 1027015 h 1066800"/>
                  <a:gd name="connsiteX9" fmla="*/ 374504 w 420688"/>
                  <a:gd name="connsiteY9" fmla="*/ 1039553 h 1066800"/>
                  <a:gd name="connsiteX10" fmla="*/ 399229 w 420688"/>
                  <a:gd name="connsiteY10" fmla="*/ 1027712 h 1066800"/>
                  <a:gd name="connsiteX11" fmla="*/ 401289 w 420688"/>
                  <a:gd name="connsiteY11" fmla="*/ 1024926 h 1066800"/>
                  <a:gd name="connsiteX12" fmla="*/ 414338 w 420688"/>
                  <a:gd name="connsiteY12" fmla="*/ 1043036 h 1066800"/>
                  <a:gd name="connsiteX13" fmla="*/ 412965 w 420688"/>
                  <a:gd name="connsiteY13" fmla="*/ 1045126 h 1066800"/>
                  <a:gd name="connsiteX14" fmla="*/ 372444 w 420688"/>
                  <a:gd name="connsiteY14" fmla="*/ 1060450 h 1066800"/>
                  <a:gd name="connsiteX15" fmla="*/ 331923 w 420688"/>
                  <a:gd name="connsiteY15" fmla="*/ 1041643 h 1066800"/>
                  <a:gd name="connsiteX16" fmla="*/ 317500 w 420688"/>
                  <a:gd name="connsiteY16" fmla="*/ 992884 h 1066800"/>
                  <a:gd name="connsiteX17" fmla="*/ 332610 w 420688"/>
                  <a:gd name="connsiteY17" fmla="*/ 943429 h 1066800"/>
                  <a:gd name="connsiteX18" fmla="*/ 373817 w 420688"/>
                  <a:gd name="connsiteY18" fmla="*/ 923925 h 1066800"/>
                  <a:gd name="connsiteX19" fmla="*/ 15341 w 420688"/>
                  <a:gd name="connsiteY19" fmla="*/ 917575 h 1066800"/>
                  <a:gd name="connsiteX20" fmla="*/ 105294 w 420688"/>
                  <a:gd name="connsiteY20" fmla="*/ 917575 h 1066800"/>
                  <a:gd name="connsiteX21" fmla="*/ 74612 w 420688"/>
                  <a:gd name="connsiteY21" fmla="*/ 948257 h 1066800"/>
                  <a:gd name="connsiteX22" fmla="*/ 30682 w 420688"/>
                  <a:gd name="connsiteY22" fmla="*/ 948257 h 1066800"/>
                  <a:gd name="connsiteX23" fmla="*/ 30682 w 420688"/>
                  <a:gd name="connsiteY23" fmla="*/ 1036118 h 1066800"/>
                  <a:gd name="connsiteX24" fmla="*/ 118543 w 420688"/>
                  <a:gd name="connsiteY24" fmla="*/ 1036118 h 1066800"/>
                  <a:gd name="connsiteX25" fmla="*/ 118543 w 420688"/>
                  <a:gd name="connsiteY25" fmla="*/ 1032632 h 1066800"/>
                  <a:gd name="connsiteX26" fmla="*/ 149225 w 420688"/>
                  <a:gd name="connsiteY26" fmla="*/ 1001950 h 1066800"/>
                  <a:gd name="connsiteX27" fmla="*/ 149225 w 420688"/>
                  <a:gd name="connsiteY27" fmla="*/ 1051459 h 1066800"/>
                  <a:gd name="connsiteX28" fmla="*/ 133884 w 420688"/>
                  <a:gd name="connsiteY28" fmla="*/ 1066800 h 1066800"/>
                  <a:gd name="connsiteX29" fmla="*/ 15341 w 420688"/>
                  <a:gd name="connsiteY29" fmla="*/ 1066800 h 1066800"/>
                  <a:gd name="connsiteX30" fmla="*/ 0 w 420688"/>
                  <a:gd name="connsiteY30" fmla="*/ 1051459 h 1066800"/>
                  <a:gd name="connsiteX31" fmla="*/ 0 w 420688"/>
                  <a:gd name="connsiteY31" fmla="*/ 932916 h 1066800"/>
                  <a:gd name="connsiteX32" fmla="*/ 15341 w 420688"/>
                  <a:gd name="connsiteY32" fmla="*/ 917575 h 1066800"/>
                  <a:gd name="connsiteX33" fmla="*/ 346075 w 420688"/>
                  <a:gd name="connsiteY33" fmla="*/ 725488 h 1066800"/>
                  <a:gd name="connsiteX34" fmla="*/ 346075 w 420688"/>
                  <a:gd name="connsiteY34" fmla="*/ 769233 h 1066800"/>
                  <a:gd name="connsiteX35" fmla="*/ 357216 w 420688"/>
                  <a:gd name="connsiteY35" fmla="*/ 769938 h 1066800"/>
                  <a:gd name="connsiteX36" fmla="*/ 378800 w 420688"/>
                  <a:gd name="connsiteY36" fmla="*/ 764294 h 1066800"/>
                  <a:gd name="connsiteX37" fmla="*/ 385763 w 420688"/>
                  <a:gd name="connsiteY37" fmla="*/ 746655 h 1066800"/>
                  <a:gd name="connsiteX38" fmla="*/ 379497 w 420688"/>
                  <a:gd name="connsiteY38" fmla="*/ 730427 h 1066800"/>
                  <a:gd name="connsiteX39" fmla="*/ 357216 w 420688"/>
                  <a:gd name="connsiteY39" fmla="*/ 725488 h 1066800"/>
                  <a:gd name="connsiteX40" fmla="*/ 346075 w 420688"/>
                  <a:gd name="connsiteY40" fmla="*/ 725488 h 1066800"/>
                  <a:gd name="connsiteX41" fmla="*/ 346075 w 420688"/>
                  <a:gd name="connsiteY41" fmla="*/ 676275 h 1066800"/>
                  <a:gd name="connsiteX42" fmla="*/ 346075 w 420688"/>
                  <a:gd name="connsiteY42" fmla="*/ 707335 h 1066800"/>
                  <a:gd name="connsiteX43" fmla="*/ 356884 w 420688"/>
                  <a:gd name="connsiteY43" fmla="*/ 708025 h 1066800"/>
                  <a:gd name="connsiteX44" fmla="*/ 377825 w 420688"/>
                  <a:gd name="connsiteY44" fmla="*/ 690770 h 1066800"/>
                  <a:gd name="connsiteX45" fmla="*/ 358235 w 420688"/>
                  <a:gd name="connsiteY45" fmla="*/ 676275 h 1066800"/>
                  <a:gd name="connsiteX46" fmla="*/ 346075 w 420688"/>
                  <a:gd name="connsiteY46" fmla="*/ 676275 h 1066800"/>
                  <a:gd name="connsiteX47" fmla="*/ 358211 w 420688"/>
                  <a:gd name="connsiteY47" fmla="*/ 655638 h 1066800"/>
                  <a:gd name="connsiteX48" fmla="*/ 388630 w 420688"/>
                  <a:gd name="connsiteY48" fmla="*/ 664667 h 1066800"/>
                  <a:gd name="connsiteX49" fmla="*/ 400383 w 420688"/>
                  <a:gd name="connsiteY49" fmla="*/ 689670 h 1066800"/>
                  <a:gd name="connsiteX50" fmla="*/ 392778 w 420688"/>
                  <a:gd name="connsiteY50" fmla="*/ 707728 h 1066800"/>
                  <a:gd name="connsiteX51" fmla="*/ 384482 w 420688"/>
                  <a:gd name="connsiteY51" fmla="*/ 714673 h 1066800"/>
                  <a:gd name="connsiteX52" fmla="*/ 400383 w 420688"/>
                  <a:gd name="connsiteY52" fmla="*/ 725091 h 1066800"/>
                  <a:gd name="connsiteX53" fmla="*/ 407987 w 420688"/>
                  <a:gd name="connsiteY53" fmla="*/ 749400 h 1066800"/>
                  <a:gd name="connsiteX54" fmla="*/ 394852 w 420688"/>
                  <a:gd name="connsiteY54" fmla="*/ 778570 h 1066800"/>
                  <a:gd name="connsiteX55" fmla="*/ 360977 w 420688"/>
                  <a:gd name="connsiteY55" fmla="*/ 788988 h 1066800"/>
                  <a:gd name="connsiteX56" fmla="*/ 322262 w 420688"/>
                  <a:gd name="connsiteY56" fmla="*/ 788988 h 1066800"/>
                  <a:gd name="connsiteX57" fmla="*/ 322262 w 420688"/>
                  <a:gd name="connsiteY57" fmla="*/ 657027 h 1066800"/>
                  <a:gd name="connsiteX58" fmla="*/ 325028 w 420688"/>
                  <a:gd name="connsiteY58" fmla="*/ 657027 h 1066800"/>
                  <a:gd name="connsiteX59" fmla="*/ 358211 w 420688"/>
                  <a:gd name="connsiteY59" fmla="*/ 655638 h 1066800"/>
                  <a:gd name="connsiteX60" fmla="*/ 15341 w 420688"/>
                  <a:gd name="connsiteY60" fmla="*/ 647700 h 1066800"/>
                  <a:gd name="connsiteX61" fmla="*/ 105294 w 420688"/>
                  <a:gd name="connsiteY61" fmla="*/ 647700 h 1066800"/>
                  <a:gd name="connsiteX62" fmla="*/ 74612 w 420688"/>
                  <a:gd name="connsiteY62" fmla="*/ 678382 h 1066800"/>
                  <a:gd name="connsiteX63" fmla="*/ 30682 w 420688"/>
                  <a:gd name="connsiteY63" fmla="*/ 678382 h 1066800"/>
                  <a:gd name="connsiteX64" fmla="*/ 30682 w 420688"/>
                  <a:gd name="connsiteY64" fmla="*/ 766243 h 1066800"/>
                  <a:gd name="connsiteX65" fmla="*/ 118543 w 420688"/>
                  <a:gd name="connsiteY65" fmla="*/ 766243 h 1066800"/>
                  <a:gd name="connsiteX66" fmla="*/ 118543 w 420688"/>
                  <a:gd name="connsiteY66" fmla="*/ 762757 h 1066800"/>
                  <a:gd name="connsiteX67" fmla="*/ 149225 w 420688"/>
                  <a:gd name="connsiteY67" fmla="*/ 732075 h 1066800"/>
                  <a:gd name="connsiteX68" fmla="*/ 149225 w 420688"/>
                  <a:gd name="connsiteY68" fmla="*/ 781584 h 1066800"/>
                  <a:gd name="connsiteX69" fmla="*/ 133884 w 420688"/>
                  <a:gd name="connsiteY69" fmla="*/ 796925 h 1066800"/>
                  <a:gd name="connsiteX70" fmla="*/ 15341 w 420688"/>
                  <a:gd name="connsiteY70" fmla="*/ 796925 h 1066800"/>
                  <a:gd name="connsiteX71" fmla="*/ 0 w 420688"/>
                  <a:gd name="connsiteY71" fmla="*/ 781584 h 1066800"/>
                  <a:gd name="connsiteX72" fmla="*/ 0 w 420688"/>
                  <a:gd name="connsiteY72" fmla="*/ 663041 h 1066800"/>
                  <a:gd name="connsiteX73" fmla="*/ 15341 w 420688"/>
                  <a:gd name="connsiteY73" fmla="*/ 647700 h 1066800"/>
                  <a:gd name="connsiteX74" fmla="*/ 365125 w 420688"/>
                  <a:gd name="connsiteY74" fmla="*/ 425450 h 1066800"/>
                  <a:gd name="connsiteX75" fmla="*/ 350837 w 420688"/>
                  <a:gd name="connsiteY75" fmla="*/ 469900 h 1066800"/>
                  <a:gd name="connsiteX76" fmla="*/ 379412 w 420688"/>
                  <a:gd name="connsiteY76" fmla="*/ 469900 h 1066800"/>
                  <a:gd name="connsiteX77" fmla="*/ 361950 w 420688"/>
                  <a:gd name="connsiteY77" fmla="*/ 381000 h 1066800"/>
                  <a:gd name="connsiteX78" fmla="*/ 369888 w 420688"/>
                  <a:gd name="connsiteY78" fmla="*/ 381000 h 1066800"/>
                  <a:gd name="connsiteX79" fmla="*/ 420688 w 420688"/>
                  <a:gd name="connsiteY79" fmla="*/ 514350 h 1066800"/>
                  <a:gd name="connsiteX80" fmla="*/ 395288 w 420688"/>
                  <a:gd name="connsiteY80" fmla="*/ 514350 h 1066800"/>
                  <a:gd name="connsiteX81" fmla="*/ 385763 w 420688"/>
                  <a:gd name="connsiteY81" fmla="*/ 487363 h 1066800"/>
                  <a:gd name="connsiteX82" fmla="*/ 342900 w 420688"/>
                  <a:gd name="connsiteY82" fmla="*/ 487363 h 1066800"/>
                  <a:gd name="connsiteX83" fmla="*/ 334963 w 420688"/>
                  <a:gd name="connsiteY83" fmla="*/ 514350 h 1066800"/>
                  <a:gd name="connsiteX84" fmla="*/ 307975 w 420688"/>
                  <a:gd name="connsiteY84" fmla="*/ 514350 h 1066800"/>
                  <a:gd name="connsiteX85" fmla="*/ 15341 w 420688"/>
                  <a:gd name="connsiteY85" fmla="*/ 373063 h 1066800"/>
                  <a:gd name="connsiteX86" fmla="*/ 105294 w 420688"/>
                  <a:gd name="connsiteY86" fmla="*/ 373063 h 1066800"/>
                  <a:gd name="connsiteX87" fmla="*/ 74612 w 420688"/>
                  <a:gd name="connsiteY87" fmla="*/ 403602 h 1066800"/>
                  <a:gd name="connsiteX88" fmla="*/ 30682 w 420688"/>
                  <a:gd name="connsiteY88" fmla="*/ 403602 h 1066800"/>
                  <a:gd name="connsiteX89" fmla="*/ 30682 w 420688"/>
                  <a:gd name="connsiteY89" fmla="*/ 491749 h 1066800"/>
                  <a:gd name="connsiteX90" fmla="*/ 118543 w 420688"/>
                  <a:gd name="connsiteY90" fmla="*/ 491749 h 1066800"/>
                  <a:gd name="connsiteX91" fmla="*/ 118543 w 420688"/>
                  <a:gd name="connsiteY91" fmla="*/ 487584 h 1066800"/>
                  <a:gd name="connsiteX92" fmla="*/ 149225 w 420688"/>
                  <a:gd name="connsiteY92" fmla="*/ 457045 h 1066800"/>
                  <a:gd name="connsiteX93" fmla="*/ 149225 w 420688"/>
                  <a:gd name="connsiteY93" fmla="*/ 507018 h 1066800"/>
                  <a:gd name="connsiteX94" fmla="*/ 133884 w 420688"/>
                  <a:gd name="connsiteY94" fmla="*/ 522288 h 1066800"/>
                  <a:gd name="connsiteX95" fmla="*/ 15341 w 420688"/>
                  <a:gd name="connsiteY95" fmla="*/ 522288 h 1066800"/>
                  <a:gd name="connsiteX96" fmla="*/ 0 w 420688"/>
                  <a:gd name="connsiteY96" fmla="*/ 507018 h 1066800"/>
                  <a:gd name="connsiteX97" fmla="*/ 0 w 420688"/>
                  <a:gd name="connsiteY97" fmla="*/ 388332 h 1066800"/>
                  <a:gd name="connsiteX98" fmla="*/ 15341 w 420688"/>
                  <a:gd name="connsiteY98" fmla="*/ 373063 h 1066800"/>
                  <a:gd name="connsiteX99" fmla="*/ 215900 w 420688"/>
                  <a:gd name="connsiteY99" fmla="*/ 30163 h 1066800"/>
                  <a:gd name="connsiteX100" fmla="*/ 194449 w 420688"/>
                  <a:gd name="connsiteY100" fmla="*/ 33727 h 1066800"/>
                  <a:gd name="connsiteX101" fmla="*/ 161925 w 420688"/>
                  <a:gd name="connsiteY101" fmla="*/ 65088 h 1066800"/>
                  <a:gd name="connsiteX102" fmla="*/ 269875 w 420688"/>
                  <a:gd name="connsiteY102" fmla="*/ 65088 h 1066800"/>
                  <a:gd name="connsiteX103" fmla="*/ 237352 w 420688"/>
                  <a:gd name="connsiteY103" fmla="*/ 33727 h 1066800"/>
                  <a:gd name="connsiteX104" fmla="*/ 215900 w 420688"/>
                  <a:gd name="connsiteY104" fmla="*/ 30163 h 1066800"/>
                  <a:gd name="connsiteX105" fmla="*/ 215900 w 420688"/>
                  <a:gd name="connsiteY105" fmla="*/ 0 h 1066800"/>
                  <a:gd name="connsiteX106" fmla="*/ 286543 w 420688"/>
                  <a:gd name="connsiteY106" fmla="*/ 34032 h 1066800"/>
                  <a:gd name="connsiteX107" fmla="*/ 302473 w 420688"/>
                  <a:gd name="connsiteY107" fmla="*/ 64592 h 1066800"/>
                  <a:gd name="connsiteX108" fmla="*/ 350261 w 420688"/>
                  <a:gd name="connsiteY108" fmla="*/ 64592 h 1066800"/>
                  <a:gd name="connsiteX109" fmla="*/ 357187 w 420688"/>
                  <a:gd name="connsiteY109" fmla="*/ 71537 h 1066800"/>
                  <a:gd name="connsiteX110" fmla="*/ 357187 w 420688"/>
                  <a:gd name="connsiteY110" fmla="*/ 111125 h 1066800"/>
                  <a:gd name="connsiteX111" fmla="*/ 357187 w 420688"/>
                  <a:gd name="connsiteY111" fmla="*/ 141685 h 1066800"/>
                  <a:gd name="connsiteX112" fmla="*/ 357187 w 420688"/>
                  <a:gd name="connsiteY112" fmla="*/ 173633 h 1066800"/>
                  <a:gd name="connsiteX113" fmla="*/ 341950 w 420688"/>
                  <a:gd name="connsiteY113" fmla="*/ 188913 h 1066800"/>
                  <a:gd name="connsiteX114" fmla="*/ 89849 w 420688"/>
                  <a:gd name="connsiteY114" fmla="*/ 188913 h 1066800"/>
                  <a:gd name="connsiteX115" fmla="*/ 74612 w 420688"/>
                  <a:gd name="connsiteY115" fmla="*/ 173633 h 1066800"/>
                  <a:gd name="connsiteX116" fmla="*/ 74612 w 420688"/>
                  <a:gd name="connsiteY116" fmla="*/ 141685 h 1066800"/>
                  <a:gd name="connsiteX117" fmla="*/ 74612 w 420688"/>
                  <a:gd name="connsiteY117" fmla="*/ 111125 h 1066800"/>
                  <a:gd name="connsiteX118" fmla="*/ 74612 w 420688"/>
                  <a:gd name="connsiteY118" fmla="*/ 71537 h 1066800"/>
                  <a:gd name="connsiteX119" fmla="*/ 81538 w 420688"/>
                  <a:gd name="connsiteY119" fmla="*/ 64592 h 1066800"/>
                  <a:gd name="connsiteX120" fmla="*/ 129327 w 420688"/>
                  <a:gd name="connsiteY120" fmla="*/ 64592 h 1066800"/>
                  <a:gd name="connsiteX121" fmla="*/ 145256 w 420688"/>
                  <a:gd name="connsiteY121" fmla="*/ 34032 h 1066800"/>
                  <a:gd name="connsiteX122" fmla="*/ 215900 w 420688"/>
                  <a:gd name="connsiteY122"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20688" h="1066800">
                    <a:moveTo>
                      <a:pt x="373817" y="923925"/>
                    </a:moveTo>
                    <a:cubicBezTo>
                      <a:pt x="387553" y="923925"/>
                      <a:pt x="399229" y="926711"/>
                      <a:pt x="406784" y="930891"/>
                    </a:cubicBezTo>
                    <a:cubicBezTo>
                      <a:pt x="406784" y="930891"/>
                      <a:pt x="406784" y="930891"/>
                      <a:pt x="408844" y="932284"/>
                    </a:cubicBezTo>
                    <a:cubicBezTo>
                      <a:pt x="408844" y="932284"/>
                      <a:pt x="408844" y="932284"/>
                      <a:pt x="401289" y="952484"/>
                    </a:cubicBezTo>
                    <a:cubicBezTo>
                      <a:pt x="401289" y="952484"/>
                      <a:pt x="401289" y="952484"/>
                      <a:pt x="398542" y="950394"/>
                    </a:cubicBezTo>
                    <a:cubicBezTo>
                      <a:pt x="393734" y="946911"/>
                      <a:pt x="385493" y="944822"/>
                      <a:pt x="374504" y="944822"/>
                    </a:cubicBezTo>
                    <a:cubicBezTo>
                      <a:pt x="364202" y="944822"/>
                      <a:pt x="355961" y="949698"/>
                      <a:pt x="349780" y="958056"/>
                    </a:cubicBezTo>
                    <a:cubicBezTo>
                      <a:pt x="343598" y="967112"/>
                      <a:pt x="340851" y="978953"/>
                      <a:pt x="340851" y="993581"/>
                    </a:cubicBezTo>
                    <a:cubicBezTo>
                      <a:pt x="340851" y="1007512"/>
                      <a:pt x="343598" y="1018657"/>
                      <a:pt x="350466" y="1027015"/>
                    </a:cubicBezTo>
                    <a:cubicBezTo>
                      <a:pt x="356648" y="1035374"/>
                      <a:pt x="364202" y="1039553"/>
                      <a:pt x="374504" y="1039553"/>
                    </a:cubicBezTo>
                    <a:cubicBezTo>
                      <a:pt x="385493" y="1039553"/>
                      <a:pt x="393734" y="1035374"/>
                      <a:pt x="399229" y="1027712"/>
                    </a:cubicBezTo>
                    <a:cubicBezTo>
                      <a:pt x="399229" y="1027712"/>
                      <a:pt x="399229" y="1027712"/>
                      <a:pt x="401289" y="1024926"/>
                    </a:cubicBezTo>
                    <a:cubicBezTo>
                      <a:pt x="401289" y="1024926"/>
                      <a:pt x="401289" y="1024926"/>
                      <a:pt x="414338" y="1043036"/>
                    </a:cubicBezTo>
                    <a:cubicBezTo>
                      <a:pt x="414338" y="1043036"/>
                      <a:pt x="414338" y="1043036"/>
                      <a:pt x="412965" y="1045126"/>
                    </a:cubicBezTo>
                    <a:cubicBezTo>
                      <a:pt x="402663" y="1055574"/>
                      <a:pt x="388927" y="1060450"/>
                      <a:pt x="372444" y="1060450"/>
                    </a:cubicBezTo>
                    <a:cubicBezTo>
                      <a:pt x="355274" y="1060450"/>
                      <a:pt x="341538" y="1054181"/>
                      <a:pt x="331923" y="1041643"/>
                    </a:cubicBezTo>
                    <a:cubicBezTo>
                      <a:pt x="322308" y="1029105"/>
                      <a:pt x="317500" y="1013084"/>
                      <a:pt x="317500" y="992884"/>
                    </a:cubicBezTo>
                    <a:cubicBezTo>
                      <a:pt x="317500" y="973381"/>
                      <a:pt x="322308" y="956663"/>
                      <a:pt x="332610" y="943429"/>
                    </a:cubicBezTo>
                    <a:cubicBezTo>
                      <a:pt x="343598" y="930891"/>
                      <a:pt x="357334" y="923925"/>
                      <a:pt x="373817" y="923925"/>
                    </a:cubicBezTo>
                    <a:close/>
                    <a:moveTo>
                      <a:pt x="15341" y="917575"/>
                    </a:moveTo>
                    <a:cubicBezTo>
                      <a:pt x="15341" y="917575"/>
                      <a:pt x="15341" y="917575"/>
                      <a:pt x="105294" y="917575"/>
                    </a:cubicBezTo>
                    <a:cubicBezTo>
                      <a:pt x="105294" y="917575"/>
                      <a:pt x="105294" y="917575"/>
                      <a:pt x="74612" y="948257"/>
                    </a:cubicBezTo>
                    <a:cubicBezTo>
                      <a:pt x="74612" y="948257"/>
                      <a:pt x="74612" y="948257"/>
                      <a:pt x="30682" y="948257"/>
                    </a:cubicBezTo>
                    <a:cubicBezTo>
                      <a:pt x="30682" y="948257"/>
                      <a:pt x="30682" y="948257"/>
                      <a:pt x="30682" y="1036118"/>
                    </a:cubicBezTo>
                    <a:cubicBezTo>
                      <a:pt x="30682" y="1036118"/>
                      <a:pt x="30682" y="1036118"/>
                      <a:pt x="118543" y="1036118"/>
                    </a:cubicBezTo>
                    <a:cubicBezTo>
                      <a:pt x="118543" y="1036118"/>
                      <a:pt x="118543" y="1036118"/>
                      <a:pt x="118543" y="1032632"/>
                    </a:cubicBezTo>
                    <a:cubicBezTo>
                      <a:pt x="118543" y="1032632"/>
                      <a:pt x="118543" y="1032632"/>
                      <a:pt x="149225" y="1001950"/>
                    </a:cubicBezTo>
                    <a:cubicBezTo>
                      <a:pt x="149225" y="1001950"/>
                      <a:pt x="149225" y="1001950"/>
                      <a:pt x="149225" y="1051459"/>
                    </a:cubicBezTo>
                    <a:cubicBezTo>
                      <a:pt x="149225" y="1059827"/>
                      <a:pt x="142252" y="1066800"/>
                      <a:pt x="133884" y="1066800"/>
                    </a:cubicBezTo>
                    <a:cubicBezTo>
                      <a:pt x="133884" y="1066800"/>
                      <a:pt x="133884" y="1066800"/>
                      <a:pt x="15341" y="1066800"/>
                    </a:cubicBezTo>
                    <a:cubicBezTo>
                      <a:pt x="6973" y="1066800"/>
                      <a:pt x="0" y="1059827"/>
                      <a:pt x="0" y="1051459"/>
                    </a:cubicBezTo>
                    <a:lnTo>
                      <a:pt x="0" y="932916"/>
                    </a:lnTo>
                    <a:cubicBezTo>
                      <a:pt x="0" y="924548"/>
                      <a:pt x="6973" y="917575"/>
                      <a:pt x="15341" y="917575"/>
                    </a:cubicBezTo>
                    <a:close/>
                    <a:moveTo>
                      <a:pt x="346075" y="725488"/>
                    </a:moveTo>
                    <a:cubicBezTo>
                      <a:pt x="346075" y="725488"/>
                      <a:pt x="346075" y="725488"/>
                      <a:pt x="346075" y="769233"/>
                    </a:cubicBezTo>
                    <a:cubicBezTo>
                      <a:pt x="350949" y="769938"/>
                      <a:pt x="354431" y="769938"/>
                      <a:pt x="357216" y="769938"/>
                    </a:cubicBezTo>
                    <a:cubicBezTo>
                      <a:pt x="366964" y="769938"/>
                      <a:pt x="374623" y="767821"/>
                      <a:pt x="378800" y="764294"/>
                    </a:cubicBezTo>
                    <a:cubicBezTo>
                      <a:pt x="383674" y="760766"/>
                      <a:pt x="385763" y="755121"/>
                      <a:pt x="385763" y="746655"/>
                    </a:cubicBezTo>
                    <a:cubicBezTo>
                      <a:pt x="385763" y="739599"/>
                      <a:pt x="383674" y="733955"/>
                      <a:pt x="379497" y="730427"/>
                    </a:cubicBezTo>
                    <a:cubicBezTo>
                      <a:pt x="375319" y="726899"/>
                      <a:pt x="367660" y="725488"/>
                      <a:pt x="357216" y="725488"/>
                    </a:cubicBezTo>
                    <a:cubicBezTo>
                      <a:pt x="357216" y="725488"/>
                      <a:pt x="357216" y="725488"/>
                      <a:pt x="346075" y="725488"/>
                    </a:cubicBezTo>
                    <a:close/>
                    <a:moveTo>
                      <a:pt x="346075" y="676275"/>
                    </a:moveTo>
                    <a:cubicBezTo>
                      <a:pt x="346075" y="676275"/>
                      <a:pt x="346075" y="676275"/>
                      <a:pt x="346075" y="707335"/>
                    </a:cubicBezTo>
                    <a:cubicBezTo>
                      <a:pt x="349453" y="708025"/>
                      <a:pt x="352831" y="708025"/>
                      <a:pt x="356884" y="708025"/>
                    </a:cubicBezTo>
                    <a:cubicBezTo>
                      <a:pt x="375799" y="708025"/>
                      <a:pt x="377825" y="698362"/>
                      <a:pt x="377825" y="690770"/>
                    </a:cubicBezTo>
                    <a:cubicBezTo>
                      <a:pt x="377825" y="684558"/>
                      <a:pt x="375799" y="676275"/>
                      <a:pt x="358235" y="676275"/>
                    </a:cubicBezTo>
                    <a:cubicBezTo>
                      <a:pt x="354182" y="676275"/>
                      <a:pt x="350128" y="676275"/>
                      <a:pt x="346075" y="676275"/>
                    </a:cubicBezTo>
                    <a:close/>
                    <a:moveTo>
                      <a:pt x="358211" y="655638"/>
                    </a:moveTo>
                    <a:cubicBezTo>
                      <a:pt x="371347" y="655638"/>
                      <a:pt x="381717" y="658416"/>
                      <a:pt x="388630" y="664667"/>
                    </a:cubicBezTo>
                    <a:cubicBezTo>
                      <a:pt x="396235" y="670223"/>
                      <a:pt x="400383" y="678558"/>
                      <a:pt x="400383" y="689670"/>
                    </a:cubicBezTo>
                    <a:cubicBezTo>
                      <a:pt x="400383" y="696615"/>
                      <a:pt x="397617" y="702172"/>
                      <a:pt x="392778" y="707728"/>
                    </a:cubicBezTo>
                    <a:cubicBezTo>
                      <a:pt x="390013" y="710506"/>
                      <a:pt x="387939" y="712590"/>
                      <a:pt x="384482" y="714673"/>
                    </a:cubicBezTo>
                    <a:cubicBezTo>
                      <a:pt x="391395" y="716757"/>
                      <a:pt x="396926" y="720924"/>
                      <a:pt x="400383" y="725091"/>
                    </a:cubicBezTo>
                    <a:cubicBezTo>
                      <a:pt x="405222" y="731342"/>
                      <a:pt x="407987" y="739676"/>
                      <a:pt x="407987" y="749400"/>
                    </a:cubicBezTo>
                    <a:cubicBezTo>
                      <a:pt x="407987" y="761207"/>
                      <a:pt x="403148" y="770930"/>
                      <a:pt x="394852" y="778570"/>
                    </a:cubicBezTo>
                    <a:cubicBezTo>
                      <a:pt x="385865" y="785515"/>
                      <a:pt x="374803" y="788988"/>
                      <a:pt x="360977" y="788988"/>
                    </a:cubicBezTo>
                    <a:cubicBezTo>
                      <a:pt x="360977" y="788988"/>
                      <a:pt x="360977" y="788988"/>
                      <a:pt x="322262" y="788988"/>
                    </a:cubicBezTo>
                    <a:cubicBezTo>
                      <a:pt x="322262" y="788988"/>
                      <a:pt x="322262" y="788988"/>
                      <a:pt x="322262" y="657027"/>
                    </a:cubicBezTo>
                    <a:cubicBezTo>
                      <a:pt x="322262" y="657027"/>
                      <a:pt x="322262" y="657027"/>
                      <a:pt x="325028" y="657027"/>
                    </a:cubicBezTo>
                    <a:cubicBezTo>
                      <a:pt x="340237" y="656333"/>
                      <a:pt x="351298" y="655638"/>
                      <a:pt x="358211" y="655638"/>
                    </a:cubicBezTo>
                    <a:close/>
                    <a:moveTo>
                      <a:pt x="15341" y="647700"/>
                    </a:moveTo>
                    <a:cubicBezTo>
                      <a:pt x="15341" y="647700"/>
                      <a:pt x="15341" y="647700"/>
                      <a:pt x="105294" y="647700"/>
                    </a:cubicBezTo>
                    <a:cubicBezTo>
                      <a:pt x="105294" y="647700"/>
                      <a:pt x="105294" y="647700"/>
                      <a:pt x="74612" y="678382"/>
                    </a:cubicBezTo>
                    <a:cubicBezTo>
                      <a:pt x="74612" y="678382"/>
                      <a:pt x="74612" y="678382"/>
                      <a:pt x="30682" y="678382"/>
                    </a:cubicBezTo>
                    <a:cubicBezTo>
                      <a:pt x="30682" y="678382"/>
                      <a:pt x="30682" y="678382"/>
                      <a:pt x="30682" y="766243"/>
                    </a:cubicBezTo>
                    <a:cubicBezTo>
                      <a:pt x="30682" y="766243"/>
                      <a:pt x="30682" y="766243"/>
                      <a:pt x="118543" y="766243"/>
                    </a:cubicBezTo>
                    <a:cubicBezTo>
                      <a:pt x="118543" y="766243"/>
                      <a:pt x="118543" y="766243"/>
                      <a:pt x="118543" y="762757"/>
                    </a:cubicBezTo>
                    <a:cubicBezTo>
                      <a:pt x="118543" y="762757"/>
                      <a:pt x="118543" y="762757"/>
                      <a:pt x="149225" y="732075"/>
                    </a:cubicBezTo>
                    <a:cubicBezTo>
                      <a:pt x="149225" y="732075"/>
                      <a:pt x="149225" y="732075"/>
                      <a:pt x="149225" y="781584"/>
                    </a:cubicBezTo>
                    <a:cubicBezTo>
                      <a:pt x="149225" y="789952"/>
                      <a:pt x="142252" y="796925"/>
                      <a:pt x="133884" y="796925"/>
                    </a:cubicBezTo>
                    <a:cubicBezTo>
                      <a:pt x="133884" y="796925"/>
                      <a:pt x="133884" y="796925"/>
                      <a:pt x="15341" y="796925"/>
                    </a:cubicBezTo>
                    <a:cubicBezTo>
                      <a:pt x="6973" y="796925"/>
                      <a:pt x="0" y="789952"/>
                      <a:pt x="0" y="781584"/>
                    </a:cubicBezTo>
                    <a:lnTo>
                      <a:pt x="0" y="663041"/>
                    </a:lnTo>
                    <a:cubicBezTo>
                      <a:pt x="0" y="654673"/>
                      <a:pt x="6973" y="647700"/>
                      <a:pt x="15341" y="647700"/>
                    </a:cubicBezTo>
                    <a:close/>
                    <a:moveTo>
                      <a:pt x="365125" y="425450"/>
                    </a:moveTo>
                    <a:lnTo>
                      <a:pt x="350837" y="469900"/>
                    </a:lnTo>
                    <a:lnTo>
                      <a:pt x="379412" y="469900"/>
                    </a:lnTo>
                    <a:close/>
                    <a:moveTo>
                      <a:pt x="361950" y="381000"/>
                    </a:moveTo>
                    <a:lnTo>
                      <a:pt x="369888" y="381000"/>
                    </a:lnTo>
                    <a:lnTo>
                      <a:pt x="420688" y="514350"/>
                    </a:lnTo>
                    <a:lnTo>
                      <a:pt x="395288" y="514350"/>
                    </a:lnTo>
                    <a:lnTo>
                      <a:pt x="385763" y="487363"/>
                    </a:lnTo>
                    <a:lnTo>
                      <a:pt x="342900" y="487363"/>
                    </a:lnTo>
                    <a:lnTo>
                      <a:pt x="334963" y="514350"/>
                    </a:lnTo>
                    <a:lnTo>
                      <a:pt x="307975" y="514350"/>
                    </a:lnTo>
                    <a:close/>
                    <a:moveTo>
                      <a:pt x="15341" y="373063"/>
                    </a:moveTo>
                    <a:cubicBezTo>
                      <a:pt x="15341" y="373063"/>
                      <a:pt x="15341" y="373063"/>
                      <a:pt x="105294" y="373063"/>
                    </a:cubicBezTo>
                    <a:cubicBezTo>
                      <a:pt x="105294" y="373063"/>
                      <a:pt x="105294" y="373063"/>
                      <a:pt x="74612" y="403602"/>
                    </a:cubicBezTo>
                    <a:cubicBezTo>
                      <a:pt x="74612" y="403602"/>
                      <a:pt x="74612" y="403602"/>
                      <a:pt x="30682" y="403602"/>
                    </a:cubicBezTo>
                    <a:cubicBezTo>
                      <a:pt x="30682" y="403602"/>
                      <a:pt x="30682" y="403602"/>
                      <a:pt x="30682" y="491749"/>
                    </a:cubicBezTo>
                    <a:cubicBezTo>
                      <a:pt x="30682" y="491749"/>
                      <a:pt x="30682" y="491749"/>
                      <a:pt x="118543" y="491749"/>
                    </a:cubicBezTo>
                    <a:cubicBezTo>
                      <a:pt x="118543" y="491749"/>
                      <a:pt x="118543" y="491749"/>
                      <a:pt x="118543" y="487584"/>
                    </a:cubicBezTo>
                    <a:cubicBezTo>
                      <a:pt x="118543" y="487584"/>
                      <a:pt x="118543" y="487584"/>
                      <a:pt x="149225" y="457045"/>
                    </a:cubicBezTo>
                    <a:cubicBezTo>
                      <a:pt x="149225" y="457045"/>
                      <a:pt x="149225" y="457045"/>
                      <a:pt x="149225" y="507018"/>
                    </a:cubicBezTo>
                    <a:cubicBezTo>
                      <a:pt x="149225" y="515347"/>
                      <a:pt x="142252" y="522288"/>
                      <a:pt x="133884" y="522288"/>
                    </a:cubicBezTo>
                    <a:cubicBezTo>
                      <a:pt x="133884" y="522288"/>
                      <a:pt x="133884" y="522288"/>
                      <a:pt x="15341" y="522288"/>
                    </a:cubicBezTo>
                    <a:cubicBezTo>
                      <a:pt x="6973" y="522288"/>
                      <a:pt x="0" y="515347"/>
                      <a:pt x="0" y="507018"/>
                    </a:cubicBezTo>
                    <a:cubicBezTo>
                      <a:pt x="0" y="507018"/>
                      <a:pt x="0" y="507018"/>
                      <a:pt x="0" y="388332"/>
                    </a:cubicBezTo>
                    <a:cubicBezTo>
                      <a:pt x="0" y="380004"/>
                      <a:pt x="6973" y="373063"/>
                      <a:pt x="15341" y="373063"/>
                    </a:cubicBezTo>
                    <a:close/>
                    <a:moveTo>
                      <a:pt x="215900" y="30163"/>
                    </a:moveTo>
                    <a:cubicBezTo>
                      <a:pt x="208288" y="30163"/>
                      <a:pt x="201369" y="31589"/>
                      <a:pt x="194449" y="33727"/>
                    </a:cubicBezTo>
                    <a:cubicBezTo>
                      <a:pt x="180609" y="39429"/>
                      <a:pt x="168845" y="50833"/>
                      <a:pt x="161925" y="65088"/>
                    </a:cubicBezTo>
                    <a:cubicBezTo>
                      <a:pt x="161925" y="65088"/>
                      <a:pt x="161925" y="65088"/>
                      <a:pt x="269875" y="65088"/>
                    </a:cubicBezTo>
                    <a:cubicBezTo>
                      <a:pt x="262955" y="50833"/>
                      <a:pt x="251192" y="39429"/>
                      <a:pt x="237352" y="33727"/>
                    </a:cubicBezTo>
                    <a:cubicBezTo>
                      <a:pt x="230432" y="31589"/>
                      <a:pt x="223512" y="30163"/>
                      <a:pt x="215900" y="30163"/>
                    </a:cubicBezTo>
                    <a:close/>
                    <a:moveTo>
                      <a:pt x="215900" y="0"/>
                    </a:moveTo>
                    <a:cubicBezTo>
                      <a:pt x="244296" y="0"/>
                      <a:pt x="269921" y="13196"/>
                      <a:pt x="286543" y="34032"/>
                    </a:cubicBezTo>
                    <a:cubicBezTo>
                      <a:pt x="293469" y="43061"/>
                      <a:pt x="299010" y="53479"/>
                      <a:pt x="302473" y="64592"/>
                    </a:cubicBezTo>
                    <a:cubicBezTo>
                      <a:pt x="302473" y="64592"/>
                      <a:pt x="302473" y="64592"/>
                      <a:pt x="350261" y="64592"/>
                    </a:cubicBezTo>
                    <a:cubicBezTo>
                      <a:pt x="353724" y="64592"/>
                      <a:pt x="357187" y="67370"/>
                      <a:pt x="357187" y="71537"/>
                    </a:cubicBezTo>
                    <a:cubicBezTo>
                      <a:pt x="357187" y="71537"/>
                      <a:pt x="357187" y="71537"/>
                      <a:pt x="357187" y="111125"/>
                    </a:cubicBezTo>
                    <a:cubicBezTo>
                      <a:pt x="357187" y="111125"/>
                      <a:pt x="357187" y="111125"/>
                      <a:pt x="357187" y="141685"/>
                    </a:cubicBezTo>
                    <a:cubicBezTo>
                      <a:pt x="357187" y="141685"/>
                      <a:pt x="357187" y="141685"/>
                      <a:pt x="357187" y="173633"/>
                    </a:cubicBezTo>
                    <a:cubicBezTo>
                      <a:pt x="357187" y="181968"/>
                      <a:pt x="350261" y="188913"/>
                      <a:pt x="341950" y="188913"/>
                    </a:cubicBezTo>
                    <a:cubicBezTo>
                      <a:pt x="341950" y="188913"/>
                      <a:pt x="341950" y="188913"/>
                      <a:pt x="89849" y="188913"/>
                    </a:cubicBezTo>
                    <a:cubicBezTo>
                      <a:pt x="81538" y="188913"/>
                      <a:pt x="74612" y="181968"/>
                      <a:pt x="74612" y="173633"/>
                    </a:cubicBezTo>
                    <a:cubicBezTo>
                      <a:pt x="74612" y="173633"/>
                      <a:pt x="74612" y="173633"/>
                      <a:pt x="74612" y="141685"/>
                    </a:cubicBezTo>
                    <a:cubicBezTo>
                      <a:pt x="74612" y="141685"/>
                      <a:pt x="74612" y="141685"/>
                      <a:pt x="74612" y="111125"/>
                    </a:cubicBezTo>
                    <a:cubicBezTo>
                      <a:pt x="74612" y="111125"/>
                      <a:pt x="74612" y="111125"/>
                      <a:pt x="74612" y="71537"/>
                    </a:cubicBezTo>
                    <a:cubicBezTo>
                      <a:pt x="74612" y="67370"/>
                      <a:pt x="78075" y="64592"/>
                      <a:pt x="81538" y="64592"/>
                    </a:cubicBezTo>
                    <a:cubicBezTo>
                      <a:pt x="81538" y="64592"/>
                      <a:pt x="81538" y="64592"/>
                      <a:pt x="129327" y="64592"/>
                    </a:cubicBezTo>
                    <a:cubicBezTo>
                      <a:pt x="132789" y="53479"/>
                      <a:pt x="138330" y="43061"/>
                      <a:pt x="145256" y="34032"/>
                    </a:cubicBezTo>
                    <a:cubicBezTo>
                      <a:pt x="161878" y="13196"/>
                      <a:pt x="187504" y="0"/>
                      <a:pt x="2159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49" name="Rectangle: Top Corners Rounded 48">
            <a:extLst>
              <a:ext uri="{FF2B5EF4-FFF2-40B4-BE49-F238E27FC236}">
                <a16:creationId xmlns:a16="http://schemas.microsoft.com/office/drawing/2014/main" id="{66D1955D-29E8-ED3A-B43A-B9C8BD330687}"/>
              </a:ext>
            </a:extLst>
          </p:cNvPr>
          <p:cNvSpPr/>
          <p:nvPr/>
        </p:nvSpPr>
        <p:spPr>
          <a:xfrm flipV="1">
            <a:off x="2713587" y="1241519"/>
            <a:ext cx="542327" cy="730155"/>
          </a:xfrm>
          <a:prstGeom prst="round2SameRect">
            <a:avLst>
              <a:gd name="adj1" fmla="val 50000"/>
              <a:gd name="adj2" fmla="val 0"/>
            </a:avLst>
          </a:prstGeom>
          <a:solidFill>
            <a:srgbClr val="FFFFFF"/>
          </a:solidFill>
          <a:ln w="19050"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Oval 49">
            <a:extLst>
              <a:ext uri="{FF2B5EF4-FFF2-40B4-BE49-F238E27FC236}">
                <a16:creationId xmlns:a16="http://schemas.microsoft.com/office/drawing/2014/main" id="{77857A8C-57A9-4B8A-6D7C-AF4B16352A1B}"/>
              </a:ext>
            </a:extLst>
          </p:cNvPr>
          <p:cNvSpPr/>
          <p:nvPr/>
        </p:nvSpPr>
        <p:spPr>
          <a:xfrm>
            <a:off x="2762553" y="1466725"/>
            <a:ext cx="444394" cy="444393"/>
          </a:xfrm>
          <a:prstGeom prst="ellipse">
            <a:avLst/>
          </a:prstGeom>
          <a:solidFill>
            <a:schemeClr val="tx2">
              <a:lumMod val="20000"/>
              <a:lumOff val="80000"/>
            </a:schemeClr>
          </a:solidFill>
          <a:ln w="19050" cap="flat" cmpd="sng" algn="ctr">
            <a:solidFill>
              <a:srgbClr val="145164"/>
            </a:solidFill>
            <a:prstDash val="solid"/>
            <a:round/>
            <a:headEnd type="none" w="med" len="med"/>
            <a:tailEnd type="none" w="med" len="med"/>
          </a:ln>
          <a:effectLst/>
        </p:spPr>
        <p:txBody>
          <a:bodyPr lIns="0" tIns="0" rIns="0" bIns="0" rtlCol="0" anchor="ctr"/>
          <a:lstStyle/>
          <a:p>
            <a:pPr algn="ctr">
              <a:lnSpc>
                <a:spcPct val="95000"/>
              </a:lnSpc>
            </a:pPr>
            <a:endParaRPr lang="en-US" kern="0" dirty="0">
              <a:solidFill>
                <a:srgbClr val="000000"/>
              </a:solidFill>
            </a:endParaRPr>
          </a:p>
        </p:txBody>
      </p:sp>
      <p:grpSp>
        <p:nvGrpSpPr>
          <p:cNvPr id="176" name="bcgIcons_Value Proposition ">
            <a:extLst>
              <a:ext uri="{FF2B5EF4-FFF2-40B4-BE49-F238E27FC236}">
                <a16:creationId xmlns:a16="http://schemas.microsoft.com/office/drawing/2014/main" id="{246420AA-653E-401B-5D1C-91C4C69C9546}"/>
              </a:ext>
            </a:extLst>
          </p:cNvPr>
          <p:cNvGrpSpPr>
            <a:grpSpLocks noChangeAspect="1"/>
          </p:cNvGrpSpPr>
          <p:nvPr/>
        </p:nvGrpSpPr>
        <p:grpSpPr>
          <a:xfrm>
            <a:off x="2801694" y="1506042"/>
            <a:ext cx="366112" cy="365760"/>
            <a:chOff x="6464300" y="2606675"/>
            <a:chExt cx="1646238" cy="1644650"/>
          </a:xfrm>
        </p:grpSpPr>
        <p:sp>
          <p:nvSpPr>
            <p:cNvPr id="177" name="AutoShape 13">
              <a:extLst>
                <a:ext uri="{FF2B5EF4-FFF2-40B4-BE49-F238E27FC236}">
                  <a16:creationId xmlns:a16="http://schemas.microsoft.com/office/drawing/2014/main" id="{92ADC51B-3FEC-5F08-7888-152F8E57FFE7}"/>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8" name="Group 177">
              <a:extLst>
                <a:ext uri="{FF2B5EF4-FFF2-40B4-BE49-F238E27FC236}">
                  <a16:creationId xmlns:a16="http://schemas.microsoft.com/office/drawing/2014/main" id="{BF7E1F3D-FC4D-6CAE-A4B5-F59DBB7A868A}"/>
                </a:ext>
              </a:extLst>
            </p:cNvPr>
            <p:cNvGrpSpPr/>
            <p:nvPr/>
          </p:nvGrpSpPr>
          <p:grpSpPr>
            <a:xfrm>
              <a:off x="6729413" y="3032124"/>
              <a:ext cx="1153373" cy="976314"/>
              <a:chOff x="6729413" y="3032124"/>
              <a:chExt cx="1153373" cy="976314"/>
            </a:xfrm>
          </p:grpSpPr>
          <p:sp>
            <p:nvSpPr>
              <p:cNvPr id="179" name="Freeform 11">
                <a:extLst>
                  <a:ext uri="{FF2B5EF4-FFF2-40B4-BE49-F238E27FC236}">
                    <a16:creationId xmlns:a16="http://schemas.microsoft.com/office/drawing/2014/main" id="{17A4F77C-528F-EE41-AA9E-DD7BBAC0DE8A}"/>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rgbClr val="14516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80" name="Freeform 12">
                <a:extLst>
                  <a:ext uri="{FF2B5EF4-FFF2-40B4-BE49-F238E27FC236}">
                    <a16:creationId xmlns:a16="http://schemas.microsoft.com/office/drawing/2014/main" id="{6CCB0963-9438-3060-B257-FF4C3B777992}"/>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rgbClr val="0B2D37"/>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40" name="Rectangle: Top Corners Rounded 139">
            <a:extLst>
              <a:ext uri="{FF2B5EF4-FFF2-40B4-BE49-F238E27FC236}">
                <a16:creationId xmlns:a16="http://schemas.microsoft.com/office/drawing/2014/main" id="{EEDA9DBC-4F2E-D8A3-6F52-EE2912BBCC46}"/>
              </a:ext>
            </a:extLst>
          </p:cNvPr>
          <p:cNvSpPr/>
          <p:nvPr/>
        </p:nvSpPr>
        <p:spPr>
          <a:xfrm flipV="1">
            <a:off x="5570535" y="1241519"/>
            <a:ext cx="542327" cy="730155"/>
          </a:xfrm>
          <a:prstGeom prst="round2SameRect">
            <a:avLst>
              <a:gd name="adj1" fmla="val 50000"/>
              <a:gd name="adj2" fmla="val 0"/>
            </a:avLst>
          </a:prstGeom>
          <a:solidFill>
            <a:srgbClr val="FFFFFF"/>
          </a:solidFill>
          <a:ln w="19050"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1" name="Oval 140">
            <a:extLst>
              <a:ext uri="{FF2B5EF4-FFF2-40B4-BE49-F238E27FC236}">
                <a16:creationId xmlns:a16="http://schemas.microsoft.com/office/drawing/2014/main" id="{07E1B503-C92D-C425-F203-F4BFB8492EF4}"/>
              </a:ext>
            </a:extLst>
          </p:cNvPr>
          <p:cNvSpPr/>
          <p:nvPr/>
        </p:nvSpPr>
        <p:spPr>
          <a:xfrm>
            <a:off x="5619501" y="1466725"/>
            <a:ext cx="444394" cy="444393"/>
          </a:xfrm>
          <a:prstGeom prst="ellipse">
            <a:avLst/>
          </a:prstGeom>
          <a:solidFill>
            <a:schemeClr val="tx2">
              <a:lumMod val="20000"/>
              <a:lumOff val="80000"/>
            </a:schemeClr>
          </a:solidFill>
          <a:ln w="19050" cap="flat" cmpd="sng" algn="ctr">
            <a:solidFill>
              <a:srgbClr val="145164"/>
            </a:solidFill>
            <a:prstDash val="solid"/>
            <a:round/>
            <a:headEnd type="none" w="med" len="med"/>
            <a:tailEnd type="none" w="med" len="med"/>
          </a:ln>
          <a:effectLst/>
        </p:spPr>
        <p:txBody>
          <a:bodyPr lIns="0" tIns="0" rIns="0" bIns="0" rtlCol="0" anchor="ctr"/>
          <a:lstStyle/>
          <a:p>
            <a:pPr algn="ctr">
              <a:lnSpc>
                <a:spcPct val="95000"/>
              </a:lnSpc>
            </a:pPr>
            <a:endParaRPr lang="en-US" kern="0" dirty="0">
              <a:solidFill>
                <a:srgbClr val="000000"/>
              </a:solidFill>
            </a:endParaRPr>
          </a:p>
        </p:txBody>
      </p:sp>
      <p:grpSp>
        <p:nvGrpSpPr>
          <p:cNvPr id="181" name="bcgIcons_Sanction check ">
            <a:extLst>
              <a:ext uri="{FF2B5EF4-FFF2-40B4-BE49-F238E27FC236}">
                <a16:creationId xmlns:a16="http://schemas.microsoft.com/office/drawing/2014/main" id="{EBDA4A2A-E95C-C904-95FE-5944ACA3FD53}"/>
              </a:ext>
            </a:extLst>
          </p:cNvPr>
          <p:cNvGrpSpPr>
            <a:grpSpLocks noChangeAspect="1"/>
          </p:cNvGrpSpPr>
          <p:nvPr/>
        </p:nvGrpSpPr>
        <p:grpSpPr>
          <a:xfrm>
            <a:off x="5658818" y="1506042"/>
            <a:ext cx="365760" cy="365760"/>
            <a:chOff x="5273675" y="2606675"/>
            <a:chExt cx="1644650" cy="1644650"/>
          </a:xfrm>
        </p:grpSpPr>
        <p:sp>
          <p:nvSpPr>
            <p:cNvPr id="182" name="AutoShape 3">
              <a:extLst>
                <a:ext uri="{FF2B5EF4-FFF2-40B4-BE49-F238E27FC236}">
                  <a16:creationId xmlns:a16="http://schemas.microsoft.com/office/drawing/2014/main" id="{7CE1EEAF-0C36-5509-551A-3EAB2444B1D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3" name="Group 182">
              <a:extLst>
                <a:ext uri="{FF2B5EF4-FFF2-40B4-BE49-F238E27FC236}">
                  <a16:creationId xmlns:a16="http://schemas.microsoft.com/office/drawing/2014/main" id="{773C8B44-F60B-B9A7-FBFA-8A030B7D7F11}"/>
                </a:ext>
              </a:extLst>
            </p:cNvPr>
            <p:cNvGrpSpPr/>
            <p:nvPr/>
          </p:nvGrpSpPr>
          <p:grpSpPr>
            <a:xfrm>
              <a:off x="5646738" y="2778125"/>
              <a:ext cx="898525" cy="1304926"/>
              <a:chOff x="5646738" y="2778125"/>
              <a:chExt cx="898525" cy="1304926"/>
            </a:xfrm>
          </p:grpSpPr>
          <p:sp>
            <p:nvSpPr>
              <p:cNvPr id="184" name="Freeform 22">
                <a:extLst>
                  <a:ext uri="{FF2B5EF4-FFF2-40B4-BE49-F238E27FC236}">
                    <a16:creationId xmlns:a16="http://schemas.microsoft.com/office/drawing/2014/main" id="{7945BCCD-5D16-E52B-830E-EED7130DAB8D}"/>
                  </a:ext>
                </a:extLst>
              </p:cNvPr>
              <p:cNvSpPr>
                <a:spLocks/>
              </p:cNvSpPr>
              <p:nvPr/>
            </p:nvSpPr>
            <p:spPr bwMode="auto">
              <a:xfrm>
                <a:off x="5646738" y="2890838"/>
                <a:ext cx="898525" cy="1192213"/>
              </a:xfrm>
              <a:custGeom>
                <a:avLst/>
                <a:gdLst>
                  <a:gd name="connsiteX0" fmla="*/ 319134 w 898525"/>
                  <a:gd name="connsiteY0" fmla="*/ 817629 h 1192213"/>
                  <a:gd name="connsiteX1" fmla="*/ 341244 w 898525"/>
                  <a:gd name="connsiteY1" fmla="*/ 817629 h 1192213"/>
                  <a:gd name="connsiteX2" fmla="*/ 341244 w 898525"/>
                  <a:gd name="connsiteY2" fmla="*/ 839730 h 1192213"/>
                  <a:gd name="connsiteX3" fmla="*/ 310575 w 898525"/>
                  <a:gd name="connsiteY3" fmla="*/ 870387 h 1192213"/>
                  <a:gd name="connsiteX4" fmla="*/ 279193 w 898525"/>
                  <a:gd name="connsiteY4" fmla="*/ 901757 h 1192213"/>
                  <a:gd name="connsiteX5" fmla="*/ 255657 w 898525"/>
                  <a:gd name="connsiteY5" fmla="*/ 925997 h 1192213"/>
                  <a:gd name="connsiteX6" fmla="*/ 244245 w 898525"/>
                  <a:gd name="connsiteY6" fmla="*/ 930275 h 1192213"/>
                  <a:gd name="connsiteX7" fmla="*/ 232834 w 898525"/>
                  <a:gd name="connsiteY7" fmla="*/ 925997 h 1192213"/>
                  <a:gd name="connsiteX8" fmla="*/ 205731 w 898525"/>
                  <a:gd name="connsiteY8" fmla="*/ 898192 h 1192213"/>
                  <a:gd name="connsiteX9" fmla="*/ 205731 w 898525"/>
                  <a:gd name="connsiteY9" fmla="*/ 876091 h 1192213"/>
                  <a:gd name="connsiteX10" fmla="*/ 227841 w 898525"/>
                  <a:gd name="connsiteY10" fmla="*/ 876091 h 1192213"/>
                  <a:gd name="connsiteX11" fmla="*/ 244245 w 898525"/>
                  <a:gd name="connsiteY11" fmla="*/ 892489 h 1192213"/>
                  <a:gd name="connsiteX12" fmla="*/ 277767 w 898525"/>
                  <a:gd name="connsiteY12" fmla="*/ 858980 h 1192213"/>
                  <a:gd name="connsiteX13" fmla="*/ 305583 w 898525"/>
                  <a:gd name="connsiteY13" fmla="*/ 831175 h 1192213"/>
                  <a:gd name="connsiteX14" fmla="*/ 319134 w 898525"/>
                  <a:gd name="connsiteY14" fmla="*/ 817629 h 1192213"/>
                  <a:gd name="connsiteX15" fmla="*/ 15713 w 898525"/>
                  <a:gd name="connsiteY15" fmla="*/ 0 h 1192213"/>
                  <a:gd name="connsiteX16" fmla="*/ 272843 w 898525"/>
                  <a:gd name="connsiteY16" fmla="*/ 0 h 1192213"/>
                  <a:gd name="connsiteX17" fmla="*/ 272843 w 898525"/>
                  <a:gd name="connsiteY17" fmla="*/ 31411 h 1192213"/>
                  <a:gd name="connsiteX18" fmla="*/ 31427 w 898525"/>
                  <a:gd name="connsiteY18" fmla="*/ 31411 h 1192213"/>
                  <a:gd name="connsiteX19" fmla="*/ 31427 w 898525"/>
                  <a:gd name="connsiteY19" fmla="*/ 1160802 h 1192213"/>
                  <a:gd name="connsiteX20" fmla="*/ 867098 w 898525"/>
                  <a:gd name="connsiteY20" fmla="*/ 1160802 h 1192213"/>
                  <a:gd name="connsiteX21" fmla="*/ 867098 w 898525"/>
                  <a:gd name="connsiteY21" fmla="*/ 31411 h 1192213"/>
                  <a:gd name="connsiteX22" fmla="*/ 625682 w 898525"/>
                  <a:gd name="connsiteY22" fmla="*/ 31411 h 1192213"/>
                  <a:gd name="connsiteX23" fmla="*/ 625682 w 898525"/>
                  <a:gd name="connsiteY23" fmla="*/ 0 h 1192213"/>
                  <a:gd name="connsiteX24" fmla="*/ 882812 w 898525"/>
                  <a:gd name="connsiteY24" fmla="*/ 0 h 1192213"/>
                  <a:gd name="connsiteX25" fmla="*/ 898525 w 898525"/>
                  <a:gd name="connsiteY25" fmla="*/ 15706 h 1192213"/>
                  <a:gd name="connsiteX26" fmla="*/ 898525 w 898525"/>
                  <a:gd name="connsiteY26" fmla="*/ 1176507 h 1192213"/>
                  <a:gd name="connsiteX27" fmla="*/ 882812 w 898525"/>
                  <a:gd name="connsiteY27" fmla="*/ 1192213 h 1192213"/>
                  <a:gd name="connsiteX28" fmla="*/ 15713 w 898525"/>
                  <a:gd name="connsiteY28" fmla="*/ 1192213 h 1192213"/>
                  <a:gd name="connsiteX29" fmla="*/ 0 w 898525"/>
                  <a:gd name="connsiteY29" fmla="*/ 1176507 h 1192213"/>
                  <a:gd name="connsiteX30" fmla="*/ 0 w 898525"/>
                  <a:gd name="connsiteY30" fmla="*/ 15706 h 1192213"/>
                  <a:gd name="connsiteX31" fmla="*/ 15713 w 898525"/>
                  <a:gd name="connsiteY31"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525" h="1192213">
                    <a:moveTo>
                      <a:pt x="319134" y="817629"/>
                    </a:moveTo>
                    <a:cubicBezTo>
                      <a:pt x="325553" y="811212"/>
                      <a:pt x="335538" y="811212"/>
                      <a:pt x="341244" y="817629"/>
                    </a:cubicBezTo>
                    <a:cubicBezTo>
                      <a:pt x="347663" y="823332"/>
                      <a:pt x="347663" y="833314"/>
                      <a:pt x="341244" y="839730"/>
                    </a:cubicBezTo>
                    <a:cubicBezTo>
                      <a:pt x="341244" y="839730"/>
                      <a:pt x="341244" y="839730"/>
                      <a:pt x="310575" y="870387"/>
                    </a:cubicBezTo>
                    <a:cubicBezTo>
                      <a:pt x="310575" y="870387"/>
                      <a:pt x="310575" y="870387"/>
                      <a:pt x="279193" y="901757"/>
                    </a:cubicBezTo>
                    <a:cubicBezTo>
                      <a:pt x="279193" y="901757"/>
                      <a:pt x="279193" y="901757"/>
                      <a:pt x="255657" y="925997"/>
                    </a:cubicBezTo>
                    <a:cubicBezTo>
                      <a:pt x="252091" y="928849"/>
                      <a:pt x="248525" y="930275"/>
                      <a:pt x="244245" y="930275"/>
                    </a:cubicBezTo>
                    <a:cubicBezTo>
                      <a:pt x="239966" y="930275"/>
                      <a:pt x="236400" y="928849"/>
                      <a:pt x="232834" y="925997"/>
                    </a:cubicBezTo>
                    <a:cubicBezTo>
                      <a:pt x="232834" y="925997"/>
                      <a:pt x="232834" y="925997"/>
                      <a:pt x="205731" y="898192"/>
                    </a:cubicBezTo>
                    <a:cubicBezTo>
                      <a:pt x="200025" y="892489"/>
                      <a:pt x="200025" y="882507"/>
                      <a:pt x="205731" y="876091"/>
                    </a:cubicBezTo>
                    <a:cubicBezTo>
                      <a:pt x="212150" y="870387"/>
                      <a:pt x="222135" y="870387"/>
                      <a:pt x="227841" y="876091"/>
                    </a:cubicBezTo>
                    <a:lnTo>
                      <a:pt x="244245" y="892489"/>
                    </a:lnTo>
                    <a:cubicBezTo>
                      <a:pt x="244245" y="892489"/>
                      <a:pt x="244245" y="892489"/>
                      <a:pt x="277767" y="858980"/>
                    </a:cubicBezTo>
                    <a:cubicBezTo>
                      <a:pt x="277767" y="858980"/>
                      <a:pt x="277767" y="858980"/>
                      <a:pt x="305583" y="831175"/>
                    </a:cubicBezTo>
                    <a:cubicBezTo>
                      <a:pt x="305583" y="831175"/>
                      <a:pt x="305583" y="831175"/>
                      <a:pt x="319134" y="817629"/>
                    </a:cubicBezTo>
                    <a:close/>
                    <a:moveTo>
                      <a:pt x="15713" y="0"/>
                    </a:moveTo>
                    <a:cubicBezTo>
                      <a:pt x="15713" y="0"/>
                      <a:pt x="15713" y="0"/>
                      <a:pt x="272843" y="0"/>
                    </a:cubicBezTo>
                    <a:cubicBezTo>
                      <a:pt x="272843" y="0"/>
                      <a:pt x="272843" y="0"/>
                      <a:pt x="272843" y="31411"/>
                    </a:cubicBezTo>
                    <a:cubicBezTo>
                      <a:pt x="272843" y="31411"/>
                      <a:pt x="272843" y="31411"/>
                      <a:pt x="31427" y="31411"/>
                    </a:cubicBezTo>
                    <a:cubicBezTo>
                      <a:pt x="31427" y="31411"/>
                      <a:pt x="31427" y="31411"/>
                      <a:pt x="31427" y="1160802"/>
                    </a:cubicBezTo>
                    <a:cubicBezTo>
                      <a:pt x="31427" y="1160802"/>
                      <a:pt x="31427" y="1160802"/>
                      <a:pt x="867098" y="1160802"/>
                    </a:cubicBezTo>
                    <a:cubicBezTo>
                      <a:pt x="867098" y="1160802"/>
                      <a:pt x="867098" y="1160802"/>
                      <a:pt x="867098" y="31411"/>
                    </a:cubicBezTo>
                    <a:cubicBezTo>
                      <a:pt x="867098" y="31411"/>
                      <a:pt x="867098" y="31411"/>
                      <a:pt x="625682" y="31411"/>
                    </a:cubicBezTo>
                    <a:cubicBezTo>
                      <a:pt x="625682" y="31411"/>
                      <a:pt x="625682" y="31411"/>
                      <a:pt x="625682" y="0"/>
                    </a:cubicBezTo>
                    <a:cubicBezTo>
                      <a:pt x="625682" y="0"/>
                      <a:pt x="625682" y="0"/>
                      <a:pt x="882812" y="0"/>
                    </a:cubicBezTo>
                    <a:cubicBezTo>
                      <a:pt x="892097" y="0"/>
                      <a:pt x="898525" y="7139"/>
                      <a:pt x="898525" y="15706"/>
                    </a:cubicBezTo>
                    <a:cubicBezTo>
                      <a:pt x="898525" y="15706"/>
                      <a:pt x="898525" y="15706"/>
                      <a:pt x="898525" y="1176507"/>
                    </a:cubicBezTo>
                    <a:cubicBezTo>
                      <a:pt x="898525" y="1185788"/>
                      <a:pt x="892097" y="1192213"/>
                      <a:pt x="882812" y="1192213"/>
                    </a:cubicBezTo>
                    <a:cubicBezTo>
                      <a:pt x="882812" y="1192213"/>
                      <a:pt x="882812" y="1192213"/>
                      <a:pt x="15713" y="1192213"/>
                    </a:cubicBezTo>
                    <a:cubicBezTo>
                      <a:pt x="6428" y="1192213"/>
                      <a:pt x="0" y="1185788"/>
                      <a:pt x="0" y="1176507"/>
                    </a:cubicBezTo>
                    <a:cubicBezTo>
                      <a:pt x="0" y="1176507"/>
                      <a:pt x="0" y="1176507"/>
                      <a:pt x="0" y="15706"/>
                    </a:cubicBezTo>
                    <a:cubicBezTo>
                      <a:pt x="0" y="7139"/>
                      <a:pt x="6428" y="0"/>
                      <a:pt x="15713" y="0"/>
                    </a:cubicBezTo>
                    <a:close/>
                  </a:path>
                </a:pathLst>
              </a:custGeom>
              <a:solidFill>
                <a:srgbClr val="0B2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85" name="Freeform 21">
                <a:extLst>
                  <a:ext uri="{FF2B5EF4-FFF2-40B4-BE49-F238E27FC236}">
                    <a16:creationId xmlns:a16="http://schemas.microsoft.com/office/drawing/2014/main" id="{87393324-2D14-0AF1-6AD2-9031FA82E334}"/>
                  </a:ext>
                </a:extLst>
              </p:cNvPr>
              <p:cNvSpPr>
                <a:spLocks/>
              </p:cNvSpPr>
              <p:nvPr/>
            </p:nvSpPr>
            <p:spPr bwMode="auto">
              <a:xfrm>
                <a:off x="5805488" y="2778125"/>
                <a:ext cx="582612" cy="1092200"/>
              </a:xfrm>
              <a:custGeom>
                <a:avLst/>
                <a:gdLst>
                  <a:gd name="connsiteX0" fmla="*/ 280880 w 582612"/>
                  <a:gd name="connsiteY0" fmla="*/ 1050925 h 1092200"/>
                  <a:gd name="connsiteX1" fmla="*/ 566845 w 582612"/>
                  <a:gd name="connsiteY1" fmla="*/ 1050925 h 1092200"/>
                  <a:gd name="connsiteX2" fmla="*/ 582612 w 582612"/>
                  <a:gd name="connsiteY2" fmla="*/ 1066800 h 1092200"/>
                  <a:gd name="connsiteX3" fmla="*/ 566845 w 582612"/>
                  <a:gd name="connsiteY3" fmla="*/ 1082675 h 1092200"/>
                  <a:gd name="connsiteX4" fmla="*/ 280880 w 582612"/>
                  <a:gd name="connsiteY4" fmla="*/ 1082675 h 1092200"/>
                  <a:gd name="connsiteX5" fmla="*/ 265112 w 582612"/>
                  <a:gd name="connsiteY5" fmla="*/ 1066800 h 1092200"/>
                  <a:gd name="connsiteX6" fmla="*/ 280880 w 582612"/>
                  <a:gd name="connsiteY6" fmla="*/ 1050925 h 1092200"/>
                  <a:gd name="connsiteX7" fmla="*/ 280880 w 582612"/>
                  <a:gd name="connsiteY7" fmla="*/ 950913 h 1092200"/>
                  <a:gd name="connsiteX8" fmla="*/ 566845 w 582612"/>
                  <a:gd name="connsiteY8" fmla="*/ 950913 h 1092200"/>
                  <a:gd name="connsiteX9" fmla="*/ 582612 w 582612"/>
                  <a:gd name="connsiteY9" fmla="*/ 966788 h 1092200"/>
                  <a:gd name="connsiteX10" fmla="*/ 566845 w 582612"/>
                  <a:gd name="connsiteY10" fmla="*/ 982663 h 1092200"/>
                  <a:gd name="connsiteX11" fmla="*/ 280880 w 582612"/>
                  <a:gd name="connsiteY11" fmla="*/ 982663 h 1092200"/>
                  <a:gd name="connsiteX12" fmla="*/ 265112 w 582612"/>
                  <a:gd name="connsiteY12" fmla="*/ 966788 h 1092200"/>
                  <a:gd name="connsiteX13" fmla="*/ 280880 w 582612"/>
                  <a:gd name="connsiteY13" fmla="*/ 950913 h 1092200"/>
                  <a:gd name="connsiteX14" fmla="*/ 15667 w 582612"/>
                  <a:gd name="connsiteY14" fmla="*/ 939800 h 1092200"/>
                  <a:gd name="connsiteX15" fmla="*/ 107534 w 582612"/>
                  <a:gd name="connsiteY15" fmla="*/ 939800 h 1092200"/>
                  <a:gd name="connsiteX16" fmla="*/ 76200 w 582612"/>
                  <a:gd name="connsiteY16" fmla="*/ 971135 h 1092200"/>
                  <a:gd name="connsiteX17" fmla="*/ 31334 w 582612"/>
                  <a:gd name="connsiteY17" fmla="*/ 971135 h 1092200"/>
                  <a:gd name="connsiteX18" fmla="*/ 31334 w 582612"/>
                  <a:gd name="connsiteY18" fmla="*/ 1060866 h 1092200"/>
                  <a:gd name="connsiteX19" fmla="*/ 121065 w 582612"/>
                  <a:gd name="connsiteY19" fmla="*/ 1060866 h 1092200"/>
                  <a:gd name="connsiteX20" fmla="*/ 121065 w 582612"/>
                  <a:gd name="connsiteY20" fmla="*/ 1057305 h 1092200"/>
                  <a:gd name="connsiteX21" fmla="*/ 152400 w 582612"/>
                  <a:gd name="connsiteY21" fmla="*/ 1025970 h 1092200"/>
                  <a:gd name="connsiteX22" fmla="*/ 152400 w 582612"/>
                  <a:gd name="connsiteY22" fmla="*/ 1076533 h 1092200"/>
                  <a:gd name="connsiteX23" fmla="*/ 136732 w 582612"/>
                  <a:gd name="connsiteY23" fmla="*/ 1092200 h 1092200"/>
                  <a:gd name="connsiteX24" fmla="*/ 15667 w 582612"/>
                  <a:gd name="connsiteY24" fmla="*/ 1092200 h 1092200"/>
                  <a:gd name="connsiteX25" fmla="*/ 0 w 582612"/>
                  <a:gd name="connsiteY25" fmla="*/ 1076533 h 1092200"/>
                  <a:gd name="connsiteX26" fmla="*/ 0 w 582612"/>
                  <a:gd name="connsiteY26" fmla="*/ 955467 h 1092200"/>
                  <a:gd name="connsiteX27" fmla="*/ 15667 w 582612"/>
                  <a:gd name="connsiteY27" fmla="*/ 939800 h 1092200"/>
                  <a:gd name="connsiteX28" fmla="*/ 261152 w 582612"/>
                  <a:gd name="connsiteY28" fmla="*/ 330437 h 1092200"/>
                  <a:gd name="connsiteX29" fmla="*/ 163228 w 582612"/>
                  <a:gd name="connsiteY29" fmla="*/ 353998 h 1092200"/>
                  <a:gd name="connsiteX30" fmla="*/ 114624 w 582612"/>
                  <a:gd name="connsiteY30" fmla="*/ 422540 h 1092200"/>
                  <a:gd name="connsiteX31" fmla="*/ 134637 w 582612"/>
                  <a:gd name="connsiteY31" fmla="*/ 538204 h 1092200"/>
                  <a:gd name="connsiteX32" fmla="*/ 319763 w 582612"/>
                  <a:gd name="connsiteY32" fmla="*/ 566763 h 1092200"/>
                  <a:gd name="connsiteX33" fmla="*/ 347639 w 582612"/>
                  <a:gd name="connsiteY33" fmla="*/ 382557 h 1092200"/>
                  <a:gd name="connsiteX34" fmla="*/ 261152 w 582612"/>
                  <a:gd name="connsiteY34" fmla="*/ 330437 h 1092200"/>
                  <a:gd name="connsiteX35" fmla="*/ 267322 w 582612"/>
                  <a:gd name="connsiteY35" fmla="*/ 292884 h 1092200"/>
                  <a:gd name="connsiteX36" fmla="*/ 378879 w 582612"/>
                  <a:gd name="connsiteY36" fmla="*/ 359933 h 1092200"/>
                  <a:gd name="connsiteX37" fmla="*/ 409629 w 582612"/>
                  <a:gd name="connsiteY37" fmla="*/ 485472 h 1092200"/>
                  <a:gd name="connsiteX38" fmla="*/ 404623 w 582612"/>
                  <a:gd name="connsiteY38" fmla="*/ 509010 h 1092200"/>
                  <a:gd name="connsiteX39" fmla="*/ 359571 w 582612"/>
                  <a:gd name="connsiteY39" fmla="*/ 581766 h 1092200"/>
                  <a:gd name="connsiteX40" fmla="*/ 380310 w 582612"/>
                  <a:gd name="connsiteY40" fmla="*/ 609584 h 1092200"/>
                  <a:gd name="connsiteX41" fmla="*/ 391036 w 582612"/>
                  <a:gd name="connsiteY41" fmla="*/ 601738 h 1092200"/>
                  <a:gd name="connsiteX42" fmla="*/ 408914 w 582612"/>
                  <a:gd name="connsiteY42" fmla="*/ 604591 h 1092200"/>
                  <a:gd name="connsiteX43" fmla="*/ 505454 w 582612"/>
                  <a:gd name="connsiteY43" fmla="*/ 734409 h 1092200"/>
                  <a:gd name="connsiteX44" fmla="*/ 508315 w 582612"/>
                  <a:gd name="connsiteY44" fmla="*/ 758661 h 1092200"/>
                  <a:gd name="connsiteX45" fmla="*/ 506169 w 582612"/>
                  <a:gd name="connsiteY45" fmla="*/ 765080 h 1092200"/>
                  <a:gd name="connsiteX46" fmla="*/ 484716 w 582612"/>
                  <a:gd name="connsiteY46" fmla="*/ 789332 h 1092200"/>
                  <a:gd name="connsiteX47" fmla="*/ 426077 w 582612"/>
                  <a:gd name="connsiteY47" fmla="*/ 792185 h 1092200"/>
                  <a:gd name="connsiteX48" fmla="*/ 330252 w 582612"/>
                  <a:gd name="connsiteY48" fmla="*/ 661654 h 1092200"/>
                  <a:gd name="connsiteX49" fmla="*/ 327391 w 582612"/>
                  <a:gd name="connsiteY49" fmla="*/ 652381 h 1092200"/>
                  <a:gd name="connsiteX50" fmla="*/ 333112 w 582612"/>
                  <a:gd name="connsiteY50" fmla="*/ 643822 h 1092200"/>
                  <a:gd name="connsiteX51" fmla="*/ 343839 w 582612"/>
                  <a:gd name="connsiteY51" fmla="*/ 635975 h 1092200"/>
                  <a:gd name="connsiteX52" fmla="*/ 323816 w 582612"/>
                  <a:gd name="connsiteY52" fmla="*/ 608870 h 1092200"/>
                  <a:gd name="connsiteX53" fmla="*/ 215834 w 582612"/>
                  <a:gd name="connsiteY53" fmla="*/ 627416 h 1092200"/>
                  <a:gd name="connsiteX54" fmla="*/ 104991 w 582612"/>
                  <a:gd name="connsiteY54" fmla="*/ 560367 h 1092200"/>
                  <a:gd name="connsiteX55" fmla="*/ 140747 w 582612"/>
                  <a:gd name="connsiteY55" fmla="*/ 323555 h 1092200"/>
                  <a:gd name="connsiteX56" fmla="*/ 267322 w 582612"/>
                  <a:gd name="connsiteY56" fmla="*/ 292884 h 1092200"/>
                  <a:gd name="connsiteX57" fmla="*/ 291741 w 582612"/>
                  <a:gd name="connsiteY57" fmla="*/ 30163 h 1092200"/>
                  <a:gd name="connsiteX58" fmla="*/ 270233 w 582612"/>
                  <a:gd name="connsiteY58" fmla="*/ 34440 h 1092200"/>
                  <a:gd name="connsiteX59" fmla="*/ 236537 w 582612"/>
                  <a:gd name="connsiteY59" fmla="*/ 65088 h 1092200"/>
                  <a:gd name="connsiteX60" fmla="*/ 347662 w 582612"/>
                  <a:gd name="connsiteY60" fmla="*/ 65088 h 1092200"/>
                  <a:gd name="connsiteX61" fmla="*/ 313966 w 582612"/>
                  <a:gd name="connsiteY61" fmla="*/ 34440 h 1092200"/>
                  <a:gd name="connsiteX62" fmla="*/ 291741 w 582612"/>
                  <a:gd name="connsiteY62" fmla="*/ 30163 h 1092200"/>
                  <a:gd name="connsiteX63" fmla="*/ 291307 w 582612"/>
                  <a:gd name="connsiteY63" fmla="*/ 0 h 1092200"/>
                  <a:gd name="connsiteX64" fmla="*/ 364293 w 582612"/>
                  <a:gd name="connsiteY64" fmla="*/ 35602 h 1092200"/>
                  <a:gd name="connsiteX65" fmla="*/ 380750 w 582612"/>
                  <a:gd name="connsiteY65" fmla="*/ 66220 h 1092200"/>
                  <a:gd name="connsiteX66" fmla="*/ 430123 w 582612"/>
                  <a:gd name="connsiteY66" fmla="*/ 66220 h 1092200"/>
                  <a:gd name="connsiteX67" fmla="*/ 436563 w 582612"/>
                  <a:gd name="connsiteY67" fmla="*/ 73340 h 1092200"/>
                  <a:gd name="connsiteX68" fmla="*/ 436563 w 582612"/>
                  <a:gd name="connsiteY68" fmla="*/ 113927 h 1092200"/>
                  <a:gd name="connsiteX69" fmla="*/ 436563 w 582612"/>
                  <a:gd name="connsiteY69" fmla="*/ 145256 h 1092200"/>
                  <a:gd name="connsiteX70" fmla="*/ 436563 w 582612"/>
                  <a:gd name="connsiteY70" fmla="*/ 178010 h 1092200"/>
                  <a:gd name="connsiteX71" fmla="*/ 421537 w 582612"/>
                  <a:gd name="connsiteY71" fmla="*/ 193675 h 1092200"/>
                  <a:gd name="connsiteX72" fmla="*/ 161792 w 582612"/>
                  <a:gd name="connsiteY72" fmla="*/ 193675 h 1092200"/>
                  <a:gd name="connsiteX73" fmla="*/ 146050 w 582612"/>
                  <a:gd name="connsiteY73" fmla="*/ 178010 h 1092200"/>
                  <a:gd name="connsiteX74" fmla="*/ 146050 w 582612"/>
                  <a:gd name="connsiteY74" fmla="*/ 145256 h 1092200"/>
                  <a:gd name="connsiteX75" fmla="*/ 146050 w 582612"/>
                  <a:gd name="connsiteY75" fmla="*/ 113927 h 1092200"/>
                  <a:gd name="connsiteX76" fmla="*/ 146050 w 582612"/>
                  <a:gd name="connsiteY76" fmla="*/ 73340 h 1092200"/>
                  <a:gd name="connsiteX77" fmla="*/ 153206 w 582612"/>
                  <a:gd name="connsiteY77" fmla="*/ 66220 h 1092200"/>
                  <a:gd name="connsiteX78" fmla="*/ 202579 w 582612"/>
                  <a:gd name="connsiteY78" fmla="*/ 66220 h 1092200"/>
                  <a:gd name="connsiteX79" fmla="*/ 218321 w 582612"/>
                  <a:gd name="connsiteY79" fmla="*/ 35602 h 1092200"/>
                  <a:gd name="connsiteX80" fmla="*/ 291307 w 582612"/>
                  <a:gd name="connsiteY80"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82612" h="1092200">
                    <a:moveTo>
                      <a:pt x="280880" y="1050925"/>
                    </a:moveTo>
                    <a:cubicBezTo>
                      <a:pt x="280880" y="1050925"/>
                      <a:pt x="280880" y="1050925"/>
                      <a:pt x="566845" y="1050925"/>
                    </a:cubicBezTo>
                    <a:cubicBezTo>
                      <a:pt x="575445" y="1050925"/>
                      <a:pt x="582612" y="1057419"/>
                      <a:pt x="582612" y="1066800"/>
                    </a:cubicBezTo>
                    <a:cubicBezTo>
                      <a:pt x="582612" y="1075459"/>
                      <a:pt x="575445" y="1082675"/>
                      <a:pt x="566845" y="1082675"/>
                    </a:cubicBezTo>
                    <a:cubicBezTo>
                      <a:pt x="566845" y="1082675"/>
                      <a:pt x="566845" y="1082675"/>
                      <a:pt x="280880" y="1082675"/>
                    </a:cubicBezTo>
                    <a:cubicBezTo>
                      <a:pt x="272279" y="1082675"/>
                      <a:pt x="265112" y="1075459"/>
                      <a:pt x="265112" y="1066800"/>
                    </a:cubicBezTo>
                    <a:cubicBezTo>
                      <a:pt x="265112" y="1057419"/>
                      <a:pt x="272279" y="1050925"/>
                      <a:pt x="280880" y="1050925"/>
                    </a:cubicBezTo>
                    <a:close/>
                    <a:moveTo>
                      <a:pt x="280880" y="950913"/>
                    </a:moveTo>
                    <a:cubicBezTo>
                      <a:pt x="280880" y="950913"/>
                      <a:pt x="280880" y="950913"/>
                      <a:pt x="566845" y="950913"/>
                    </a:cubicBezTo>
                    <a:cubicBezTo>
                      <a:pt x="575445" y="950913"/>
                      <a:pt x="582612" y="958129"/>
                      <a:pt x="582612" y="966788"/>
                    </a:cubicBezTo>
                    <a:cubicBezTo>
                      <a:pt x="582612" y="975447"/>
                      <a:pt x="575445" y="982663"/>
                      <a:pt x="566845" y="982663"/>
                    </a:cubicBezTo>
                    <a:cubicBezTo>
                      <a:pt x="566845" y="982663"/>
                      <a:pt x="566845" y="982663"/>
                      <a:pt x="280880" y="982663"/>
                    </a:cubicBezTo>
                    <a:cubicBezTo>
                      <a:pt x="272279" y="982663"/>
                      <a:pt x="265112" y="975447"/>
                      <a:pt x="265112" y="966788"/>
                    </a:cubicBezTo>
                    <a:cubicBezTo>
                      <a:pt x="265112" y="958129"/>
                      <a:pt x="272279" y="950913"/>
                      <a:pt x="280880" y="950913"/>
                    </a:cubicBezTo>
                    <a:close/>
                    <a:moveTo>
                      <a:pt x="15667" y="939800"/>
                    </a:moveTo>
                    <a:cubicBezTo>
                      <a:pt x="15667" y="939800"/>
                      <a:pt x="15667" y="939800"/>
                      <a:pt x="107534" y="939800"/>
                    </a:cubicBezTo>
                    <a:cubicBezTo>
                      <a:pt x="107534" y="939800"/>
                      <a:pt x="107534" y="939800"/>
                      <a:pt x="76200" y="971135"/>
                    </a:cubicBezTo>
                    <a:cubicBezTo>
                      <a:pt x="76200" y="971135"/>
                      <a:pt x="76200" y="971135"/>
                      <a:pt x="31334" y="971135"/>
                    </a:cubicBezTo>
                    <a:cubicBezTo>
                      <a:pt x="31334" y="971135"/>
                      <a:pt x="31334" y="971135"/>
                      <a:pt x="31334" y="1060866"/>
                    </a:cubicBezTo>
                    <a:cubicBezTo>
                      <a:pt x="31334" y="1060866"/>
                      <a:pt x="31334" y="1060866"/>
                      <a:pt x="121065" y="1060866"/>
                    </a:cubicBezTo>
                    <a:lnTo>
                      <a:pt x="121065" y="1057305"/>
                    </a:lnTo>
                    <a:cubicBezTo>
                      <a:pt x="121065" y="1057305"/>
                      <a:pt x="121065" y="1057305"/>
                      <a:pt x="152400" y="1025970"/>
                    </a:cubicBezTo>
                    <a:cubicBezTo>
                      <a:pt x="152400" y="1025970"/>
                      <a:pt x="152400" y="1025970"/>
                      <a:pt x="152400" y="1076533"/>
                    </a:cubicBezTo>
                    <a:cubicBezTo>
                      <a:pt x="152400" y="1085079"/>
                      <a:pt x="145990" y="1092200"/>
                      <a:pt x="136732" y="1092200"/>
                    </a:cubicBezTo>
                    <a:cubicBezTo>
                      <a:pt x="136732" y="1092200"/>
                      <a:pt x="136732" y="1092200"/>
                      <a:pt x="15667" y="1092200"/>
                    </a:cubicBezTo>
                    <a:cubicBezTo>
                      <a:pt x="7121" y="1092200"/>
                      <a:pt x="0" y="1085079"/>
                      <a:pt x="0" y="1076533"/>
                    </a:cubicBezTo>
                    <a:cubicBezTo>
                      <a:pt x="0" y="1076533"/>
                      <a:pt x="0" y="1076533"/>
                      <a:pt x="0" y="955467"/>
                    </a:cubicBezTo>
                    <a:cubicBezTo>
                      <a:pt x="0" y="946921"/>
                      <a:pt x="7121" y="939800"/>
                      <a:pt x="15667" y="939800"/>
                    </a:cubicBezTo>
                    <a:close/>
                    <a:moveTo>
                      <a:pt x="261152" y="330437"/>
                    </a:moveTo>
                    <a:cubicBezTo>
                      <a:pt x="226128" y="325439"/>
                      <a:pt x="191104" y="334007"/>
                      <a:pt x="163228" y="353998"/>
                    </a:cubicBezTo>
                    <a:cubicBezTo>
                      <a:pt x="138926" y="371848"/>
                      <a:pt x="122486" y="396123"/>
                      <a:pt x="114624" y="422540"/>
                    </a:cubicBezTo>
                    <a:cubicBezTo>
                      <a:pt x="103187" y="460381"/>
                      <a:pt x="109620" y="503220"/>
                      <a:pt x="134637" y="538204"/>
                    </a:cubicBezTo>
                    <a:cubicBezTo>
                      <a:pt x="178238" y="596751"/>
                      <a:pt x="261152" y="609602"/>
                      <a:pt x="319763" y="566763"/>
                    </a:cubicBezTo>
                    <a:cubicBezTo>
                      <a:pt x="378374" y="523925"/>
                      <a:pt x="390525" y="441103"/>
                      <a:pt x="347639" y="382557"/>
                    </a:cubicBezTo>
                    <a:cubicBezTo>
                      <a:pt x="326911" y="353998"/>
                      <a:pt x="296175" y="336149"/>
                      <a:pt x="261152" y="330437"/>
                    </a:cubicBezTo>
                    <a:close/>
                    <a:moveTo>
                      <a:pt x="267322" y="292884"/>
                    </a:moveTo>
                    <a:cubicBezTo>
                      <a:pt x="312374" y="299304"/>
                      <a:pt x="351705" y="323555"/>
                      <a:pt x="378879" y="359933"/>
                    </a:cubicBezTo>
                    <a:cubicBezTo>
                      <a:pt x="405339" y="396311"/>
                      <a:pt x="416780" y="441248"/>
                      <a:pt x="409629" y="485472"/>
                    </a:cubicBezTo>
                    <a:cubicBezTo>
                      <a:pt x="408914" y="494031"/>
                      <a:pt x="407484" y="501164"/>
                      <a:pt x="404623" y="509010"/>
                    </a:cubicBezTo>
                    <a:cubicBezTo>
                      <a:pt x="396757" y="536828"/>
                      <a:pt x="381025" y="561793"/>
                      <a:pt x="359571" y="581766"/>
                    </a:cubicBezTo>
                    <a:cubicBezTo>
                      <a:pt x="359571" y="581766"/>
                      <a:pt x="359571" y="581766"/>
                      <a:pt x="380310" y="609584"/>
                    </a:cubicBezTo>
                    <a:cubicBezTo>
                      <a:pt x="380310" y="609584"/>
                      <a:pt x="380310" y="609584"/>
                      <a:pt x="391036" y="601738"/>
                    </a:cubicBezTo>
                    <a:cubicBezTo>
                      <a:pt x="397472" y="598171"/>
                      <a:pt x="405339" y="598884"/>
                      <a:pt x="408914" y="604591"/>
                    </a:cubicBezTo>
                    <a:cubicBezTo>
                      <a:pt x="408914" y="604591"/>
                      <a:pt x="408914" y="604591"/>
                      <a:pt x="505454" y="734409"/>
                    </a:cubicBezTo>
                    <a:cubicBezTo>
                      <a:pt x="510460" y="740829"/>
                      <a:pt x="511175" y="749388"/>
                      <a:pt x="508315" y="758661"/>
                    </a:cubicBezTo>
                    <a:cubicBezTo>
                      <a:pt x="508315" y="760087"/>
                      <a:pt x="506885" y="762227"/>
                      <a:pt x="506169" y="765080"/>
                    </a:cubicBezTo>
                    <a:cubicBezTo>
                      <a:pt x="501879" y="773640"/>
                      <a:pt x="494013" y="782199"/>
                      <a:pt x="484716" y="789332"/>
                    </a:cubicBezTo>
                    <a:cubicBezTo>
                      <a:pt x="461832" y="805738"/>
                      <a:pt x="437519" y="806451"/>
                      <a:pt x="426077" y="792185"/>
                    </a:cubicBezTo>
                    <a:cubicBezTo>
                      <a:pt x="426077" y="792185"/>
                      <a:pt x="426077" y="792185"/>
                      <a:pt x="330252" y="661654"/>
                    </a:cubicBezTo>
                    <a:cubicBezTo>
                      <a:pt x="328106" y="659514"/>
                      <a:pt x="327391" y="655234"/>
                      <a:pt x="327391" y="652381"/>
                    </a:cubicBezTo>
                    <a:cubicBezTo>
                      <a:pt x="328106" y="648815"/>
                      <a:pt x="330252" y="645961"/>
                      <a:pt x="333112" y="643822"/>
                    </a:cubicBezTo>
                    <a:cubicBezTo>
                      <a:pt x="333112" y="643822"/>
                      <a:pt x="333112" y="643822"/>
                      <a:pt x="343839" y="635975"/>
                    </a:cubicBezTo>
                    <a:cubicBezTo>
                      <a:pt x="343839" y="635975"/>
                      <a:pt x="343839" y="635975"/>
                      <a:pt x="323816" y="608870"/>
                    </a:cubicBezTo>
                    <a:cubicBezTo>
                      <a:pt x="290920" y="626703"/>
                      <a:pt x="253735" y="633122"/>
                      <a:pt x="215834" y="627416"/>
                    </a:cubicBezTo>
                    <a:cubicBezTo>
                      <a:pt x="170781" y="620283"/>
                      <a:pt x="132165" y="596745"/>
                      <a:pt x="104991" y="560367"/>
                    </a:cubicBezTo>
                    <a:cubicBezTo>
                      <a:pt x="49212" y="484758"/>
                      <a:pt x="65660" y="379192"/>
                      <a:pt x="140747" y="323555"/>
                    </a:cubicBezTo>
                    <a:cubicBezTo>
                      <a:pt x="177217" y="297164"/>
                      <a:pt x="222270" y="285751"/>
                      <a:pt x="267322" y="292884"/>
                    </a:cubicBezTo>
                    <a:close/>
                    <a:moveTo>
                      <a:pt x="291741" y="30163"/>
                    </a:moveTo>
                    <a:cubicBezTo>
                      <a:pt x="284572" y="30163"/>
                      <a:pt x="276686" y="31589"/>
                      <a:pt x="270233" y="34440"/>
                    </a:cubicBezTo>
                    <a:cubicBezTo>
                      <a:pt x="255178" y="39429"/>
                      <a:pt x="242990" y="50833"/>
                      <a:pt x="236537" y="65088"/>
                    </a:cubicBezTo>
                    <a:cubicBezTo>
                      <a:pt x="236537" y="65088"/>
                      <a:pt x="236537" y="65088"/>
                      <a:pt x="347662" y="65088"/>
                    </a:cubicBezTo>
                    <a:cubicBezTo>
                      <a:pt x="340493" y="50833"/>
                      <a:pt x="328305" y="39429"/>
                      <a:pt x="313966" y="34440"/>
                    </a:cubicBezTo>
                    <a:cubicBezTo>
                      <a:pt x="306797" y="31589"/>
                      <a:pt x="299628" y="30163"/>
                      <a:pt x="291741" y="30163"/>
                    </a:cubicBezTo>
                    <a:close/>
                    <a:moveTo>
                      <a:pt x="291307" y="0"/>
                    </a:moveTo>
                    <a:cubicBezTo>
                      <a:pt x="321360" y="0"/>
                      <a:pt x="347120" y="13529"/>
                      <a:pt x="364293" y="35602"/>
                    </a:cubicBezTo>
                    <a:cubicBezTo>
                      <a:pt x="371448" y="44147"/>
                      <a:pt x="377173" y="54827"/>
                      <a:pt x="380750" y="66220"/>
                    </a:cubicBezTo>
                    <a:cubicBezTo>
                      <a:pt x="380750" y="66220"/>
                      <a:pt x="380750" y="66220"/>
                      <a:pt x="430123" y="66220"/>
                    </a:cubicBezTo>
                    <a:cubicBezTo>
                      <a:pt x="433701" y="66220"/>
                      <a:pt x="436563" y="69068"/>
                      <a:pt x="436563" y="73340"/>
                    </a:cubicBezTo>
                    <a:cubicBezTo>
                      <a:pt x="436563" y="73340"/>
                      <a:pt x="436563" y="73340"/>
                      <a:pt x="436563" y="113927"/>
                    </a:cubicBezTo>
                    <a:cubicBezTo>
                      <a:pt x="436563" y="113927"/>
                      <a:pt x="436563" y="113927"/>
                      <a:pt x="436563" y="145256"/>
                    </a:cubicBezTo>
                    <a:cubicBezTo>
                      <a:pt x="436563" y="145256"/>
                      <a:pt x="436563" y="145256"/>
                      <a:pt x="436563" y="178010"/>
                    </a:cubicBezTo>
                    <a:cubicBezTo>
                      <a:pt x="436563" y="186555"/>
                      <a:pt x="430123" y="193675"/>
                      <a:pt x="421537" y="193675"/>
                    </a:cubicBezTo>
                    <a:lnTo>
                      <a:pt x="161792" y="193675"/>
                    </a:lnTo>
                    <a:cubicBezTo>
                      <a:pt x="153206" y="193675"/>
                      <a:pt x="146050" y="186555"/>
                      <a:pt x="146050" y="178010"/>
                    </a:cubicBezTo>
                    <a:cubicBezTo>
                      <a:pt x="146050" y="178010"/>
                      <a:pt x="146050" y="178010"/>
                      <a:pt x="146050" y="145256"/>
                    </a:cubicBezTo>
                    <a:cubicBezTo>
                      <a:pt x="146050" y="145256"/>
                      <a:pt x="146050" y="145256"/>
                      <a:pt x="146050" y="113927"/>
                    </a:cubicBezTo>
                    <a:cubicBezTo>
                      <a:pt x="146050" y="113927"/>
                      <a:pt x="146050" y="113927"/>
                      <a:pt x="146050" y="73340"/>
                    </a:cubicBezTo>
                    <a:cubicBezTo>
                      <a:pt x="146050" y="69068"/>
                      <a:pt x="149628" y="66220"/>
                      <a:pt x="153206" y="66220"/>
                    </a:cubicBezTo>
                    <a:cubicBezTo>
                      <a:pt x="153206" y="66220"/>
                      <a:pt x="153206" y="66220"/>
                      <a:pt x="202579" y="66220"/>
                    </a:cubicBezTo>
                    <a:cubicBezTo>
                      <a:pt x="206156" y="54827"/>
                      <a:pt x="211165" y="44147"/>
                      <a:pt x="218321" y="35602"/>
                    </a:cubicBezTo>
                    <a:cubicBezTo>
                      <a:pt x="235494" y="13529"/>
                      <a:pt x="261969" y="0"/>
                      <a:pt x="291307" y="0"/>
                    </a:cubicBezTo>
                    <a:close/>
                  </a:path>
                </a:pathLst>
              </a:custGeom>
              <a:solidFill>
                <a:srgbClr val="1451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611373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42C52FA-B2C5-B477-8C55-398C684F8F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11" name="think-cell data - do not delete" hidden="1">
                        <a:extLst>
                          <a:ext uri="{FF2B5EF4-FFF2-40B4-BE49-F238E27FC236}">
                            <a16:creationId xmlns:a16="http://schemas.microsoft.com/office/drawing/2014/main" id="{F42C52FA-B2C5-B477-8C55-398C684F8F1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BFF0383-DFFF-670B-4FC6-BA9222ECDC32}"/>
              </a:ext>
            </a:extLst>
          </p:cNvPr>
          <p:cNvCxnSpPr>
            <a:cxnSpLocks/>
          </p:cNvCxnSpPr>
          <p:nvPr/>
        </p:nvCxnSpPr>
        <p:spPr>
          <a:xfrm>
            <a:off x="6696074" y="1682819"/>
            <a:ext cx="0" cy="1338735"/>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3D5D717-38E5-DEE4-3F1A-71EE683C071B}"/>
              </a:ext>
            </a:extLst>
          </p:cNvPr>
          <p:cNvSpPr txBox="1"/>
          <p:nvPr/>
        </p:nvSpPr>
        <p:spPr>
          <a:xfrm>
            <a:off x="1828798" y="1182568"/>
            <a:ext cx="4724802" cy="265729"/>
          </a:xfrm>
          <a:prstGeom prst="round2SameRect">
            <a:avLst/>
          </a:prstGeom>
          <a:solidFill>
            <a:srgbClr val="14516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History and culture </a:t>
            </a:r>
          </a:p>
        </p:txBody>
      </p:sp>
      <p:sp>
        <p:nvSpPr>
          <p:cNvPr id="19" name="TextBox 18">
            <a:extLst>
              <a:ext uri="{FF2B5EF4-FFF2-40B4-BE49-F238E27FC236}">
                <a16:creationId xmlns:a16="http://schemas.microsoft.com/office/drawing/2014/main" id="{D0CDAD69-5BED-BC2A-70E7-986E77AE69A4}"/>
              </a:ext>
            </a:extLst>
          </p:cNvPr>
          <p:cNvSpPr txBox="1"/>
          <p:nvPr/>
        </p:nvSpPr>
        <p:spPr>
          <a:xfrm>
            <a:off x="6838548" y="1182568"/>
            <a:ext cx="4724802" cy="265729"/>
          </a:xfrm>
          <a:prstGeom prst="round2SameRect">
            <a:avLst/>
          </a:prstGeom>
          <a:solidFill>
            <a:srgbClr val="14516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sulting aims and priorities</a:t>
            </a:r>
          </a:p>
        </p:txBody>
      </p:sp>
      <p:sp>
        <p:nvSpPr>
          <p:cNvPr id="21" name="TextBox 20">
            <a:extLst>
              <a:ext uri="{FF2B5EF4-FFF2-40B4-BE49-F238E27FC236}">
                <a16:creationId xmlns:a16="http://schemas.microsoft.com/office/drawing/2014/main" id="{F140393C-2D5F-C160-8FFE-2695A64195E2}"/>
              </a:ext>
            </a:extLst>
          </p:cNvPr>
          <p:cNvSpPr txBox="1"/>
          <p:nvPr/>
        </p:nvSpPr>
        <p:spPr>
          <a:xfrm>
            <a:off x="1828798" y="1899814"/>
            <a:ext cx="4724802"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Belief that </a:t>
            </a:r>
            <a:r>
              <a:rPr kumimoji="0" lang="en-GB" sz="1200" b="0" i="0" u="none" strike="noStrike" kern="1200" cap="none" spc="0" normalizeH="0" baseline="0" noProof="0" dirty="0">
                <a:ln>
                  <a:noFill/>
                </a:ln>
                <a:solidFill>
                  <a:srgbClr val="145164"/>
                </a:solidFill>
                <a:effectLst/>
                <a:uLnTx/>
                <a:uFillTx/>
                <a:latin typeface="Aptos"/>
                <a:ea typeface="+mn-ea"/>
                <a:cs typeface="+mn-cs"/>
              </a:rPr>
              <a:t>success is – </a:t>
            </a:r>
            <a:r>
              <a:rPr kumimoji="0" lang="en-GB" sz="1200" b="0" i="0" u="sng" strike="noStrike" kern="1200" cap="none" spc="0" normalizeH="0" baseline="0" noProof="0" dirty="0">
                <a:ln>
                  <a:noFill/>
                </a:ln>
                <a:solidFill>
                  <a:srgbClr val="145164"/>
                </a:solidFill>
                <a:effectLst/>
                <a:uLnTx/>
                <a:uFillTx/>
                <a:latin typeface="Aptos"/>
                <a:ea typeface="+mn-ea"/>
                <a:cs typeface="+mn-cs"/>
              </a:rPr>
              <a:t>and should be </a:t>
            </a:r>
            <a:r>
              <a:rPr kumimoji="0" lang="en-GB" sz="1200" b="0" i="0" u="none" strike="noStrike" kern="1200" cap="none" spc="0" normalizeH="0" baseline="0" noProof="0" dirty="0">
                <a:ln>
                  <a:noFill/>
                </a:ln>
                <a:solidFill>
                  <a:srgbClr val="145164"/>
                </a:solidFill>
                <a:effectLst/>
                <a:uLnTx/>
                <a:uFillTx/>
                <a:latin typeface="Aptos"/>
                <a:ea typeface="+mn-ea"/>
                <a:cs typeface="+mn-cs"/>
              </a:rPr>
              <a:t>determined by individual effort and performance, </a:t>
            </a:r>
            <a:r>
              <a:rPr kumimoji="0" lang="en-GB" sz="1200" b="0" i="1" u="none" strike="noStrike" kern="1200" cap="none" spc="0" normalizeH="0" baseline="0" noProof="0" dirty="0">
                <a:ln>
                  <a:noFill/>
                </a:ln>
                <a:solidFill>
                  <a:srgbClr val="145164"/>
                </a:solidFill>
                <a:effectLst/>
                <a:uLnTx/>
                <a:uFillTx/>
                <a:latin typeface="Aptos"/>
                <a:ea typeface="+mn-ea"/>
                <a:cs typeface="+mn-cs"/>
              </a:rPr>
              <a:t>even if</a:t>
            </a:r>
            <a:r>
              <a:rPr kumimoji="0" lang="en-GB" sz="1200" b="0" i="0" u="none" strike="noStrike" kern="1200" cap="none" spc="0" normalizeH="0" baseline="0" noProof="0" dirty="0">
                <a:ln>
                  <a:noFill/>
                </a:ln>
                <a:solidFill>
                  <a:srgbClr val="145164"/>
                </a:solidFill>
                <a:effectLst/>
                <a:uLnTx/>
                <a:uFillTx/>
                <a:latin typeface="Aptos"/>
                <a:ea typeface="+mn-ea"/>
                <a:cs typeface="+mn-cs"/>
              </a:rPr>
              <a:t> this involves </a:t>
            </a:r>
            <a:r>
              <a:rPr kumimoji="0" lang="en-GB" sz="1200" b="0" i="0" u="sng" strike="noStrike" kern="1200" cap="none" spc="0" normalizeH="0" baseline="0" noProof="0" dirty="0">
                <a:ln>
                  <a:noFill/>
                </a:ln>
                <a:solidFill>
                  <a:srgbClr val="145164"/>
                </a:solidFill>
                <a:effectLst/>
                <a:uLnTx/>
                <a:uFillTx/>
                <a:latin typeface="Aptos"/>
                <a:ea typeface="+mn-ea"/>
                <a:cs typeface="+mn-cs"/>
              </a:rPr>
              <a:t>unequal outcomes</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Strong </a:t>
            </a:r>
            <a:r>
              <a:rPr kumimoji="0" lang="en-GB" sz="1200" b="0" i="0" u="none" strike="noStrike" kern="1200" cap="none" spc="0" normalizeH="0" baseline="0" noProof="0" dirty="0">
                <a:ln>
                  <a:noFill/>
                </a:ln>
                <a:solidFill>
                  <a:srgbClr val="145164"/>
                </a:solidFill>
                <a:effectLst/>
                <a:uLnTx/>
                <a:uFillTx/>
                <a:latin typeface="Aptos"/>
                <a:ea typeface="+mn-ea"/>
                <a:cs typeface="+mn-cs"/>
              </a:rPr>
              <a:t>societal interest in school performance </a:t>
            </a:r>
            <a:r>
              <a:rPr kumimoji="0" lang="en-GB" sz="1200" b="0" i="0" u="none" strike="noStrike" kern="1200" cap="none" spc="0" normalizeH="0" baseline="0" noProof="0" dirty="0">
                <a:ln>
                  <a:noFill/>
                </a:ln>
                <a:solidFill>
                  <a:srgbClr val="000000"/>
                </a:solidFill>
                <a:effectLst/>
                <a:uLnTx/>
                <a:uFillTx/>
                <a:latin typeface="Aptos"/>
                <a:ea typeface="+mn-ea"/>
                <a:cs typeface="+mn-cs"/>
              </a:rPr>
              <a:t>and</a:t>
            </a:r>
            <a:br>
              <a:rPr kumimoji="0" lang="en-GB" sz="1200" b="0" i="0" u="none" strike="noStrike" kern="1200" cap="none" spc="0" normalizeH="0" baseline="0" noProof="0" dirty="0">
                <a:ln>
                  <a:noFill/>
                </a:ln>
                <a:solidFill>
                  <a:srgbClr val="000000"/>
                </a:solidFill>
                <a:effectLst/>
                <a:uLnTx/>
                <a:uFillTx/>
                <a:latin typeface="Aptos"/>
                <a:ea typeface="+mn-ea"/>
                <a:cs typeface="+mn-cs"/>
              </a:rPr>
            </a:br>
            <a:r>
              <a:rPr kumimoji="0" lang="en-GB" sz="1200" b="0" i="0" u="none" strike="noStrike" kern="1200" cap="none" spc="0" normalizeH="0" baseline="0" noProof="0" dirty="0">
                <a:ln>
                  <a:noFill/>
                </a:ln>
                <a:solidFill>
                  <a:srgbClr val="000000"/>
                </a:solidFill>
                <a:effectLst/>
                <a:uLnTx/>
                <a:uFillTx/>
                <a:latin typeface="Aptos"/>
                <a:ea typeface="+mn-ea"/>
                <a:cs typeface="+mn-cs"/>
              </a:rPr>
              <a:t>academic achievement</a:t>
            </a:r>
          </a:p>
        </p:txBody>
      </p:sp>
      <p:sp>
        <p:nvSpPr>
          <p:cNvPr id="23" name="TextBox 22">
            <a:extLst>
              <a:ext uri="{FF2B5EF4-FFF2-40B4-BE49-F238E27FC236}">
                <a16:creationId xmlns:a16="http://schemas.microsoft.com/office/drawing/2014/main" id="{0D401880-4DDF-DB1A-2A24-0A303F7BE075}"/>
              </a:ext>
            </a:extLst>
          </p:cNvPr>
          <p:cNvSpPr txBox="1"/>
          <p:nvPr/>
        </p:nvSpPr>
        <p:spPr>
          <a:xfrm>
            <a:off x="1828798" y="1585167"/>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Meritocracy </a:t>
            </a:r>
          </a:p>
        </p:txBody>
      </p:sp>
      <p:sp>
        <p:nvSpPr>
          <p:cNvPr id="64" name="TextBox 63">
            <a:extLst>
              <a:ext uri="{FF2B5EF4-FFF2-40B4-BE49-F238E27FC236}">
                <a16:creationId xmlns:a16="http://schemas.microsoft.com/office/drawing/2014/main" id="{E693868B-6D05-27B8-5DBB-6B9AEE9AB426}"/>
              </a:ext>
            </a:extLst>
          </p:cNvPr>
          <p:cNvSpPr txBox="1"/>
          <p:nvPr/>
        </p:nvSpPr>
        <p:spPr>
          <a:xfrm>
            <a:off x="1828798" y="3613673"/>
            <a:ext cx="4724802"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Key aspect of New Zealand identity, reflecting the </a:t>
            </a:r>
            <a:r>
              <a:rPr kumimoji="0" lang="en-GB" sz="1200" b="0" i="0" u="none" strike="noStrike" kern="1200" cap="none" spc="0" normalizeH="0" baseline="0" noProof="0" dirty="0">
                <a:ln>
                  <a:noFill/>
                </a:ln>
                <a:solidFill>
                  <a:srgbClr val="145164"/>
                </a:solidFill>
                <a:effectLst/>
                <a:uLnTx/>
                <a:uFillTx/>
                <a:latin typeface="Aptos"/>
                <a:ea typeface="+mn-ea"/>
                <a:cs typeface="+mn-cs"/>
              </a:rPr>
              <a:t>partnership between Māori (Indigenous people) and </a:t>
            </a:r>
            <a:r>
              <a:rPr kumimoji="0" lang="en-GB" sz="1200" b="0" i="0" u="none" strike="noStrike" kern="1200" cap="none" spc="0" normalizeH="0" baseline="0" noProof="0" dirty="0">
                <a:ln>
                  <a:noFill/>
                </a:ln>
                <a:solidFill>
                  <a:srgbClr val="000000"/>
                </a:solidFill>
                <a:effectLst/>
                <a:uLnTx/>
                <a:uFillTx/>
                <a:latin typeface="Aptos"/>
                <a:ea typeface="+mn-ea"/>
                <a:cs typeface="+mn-cs"/>
              </a:rPr>
              <a:t>NZ of European descent established under the Treaty of Waitangi</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Treaty principles underpin expectations </a:t>
            </a:r>
            <a:r>
              <a:rPr kumimoji="0" lang="en-GB" sz="1200" b="0" i="0" u="none" strike="noStrike" kern="1200" cap="none" spc="0" normalizeH="0" baseline="0" noProof="0" dirty="0">
                <a:ln>
                  <a:noFill/>
                </a:ln>
                <a:solidFill>
                  <a:srgbClr val="145164"/>
                </a:solidFill>
                <a:effectLst/>
                <a:uLnTx/>
                <a:uFillTx/>
                <a:latin typeface="Aptos"/>
                <a:ea typeface="+mn-ea"/>
                <a:cs typeface="+mn-cs"/>
              </a:rPr>
              <a:t>that institutions recognise cultural difference,</a:t>
            </a:r>
            <a:r>
              <a:rPr kumimoji="0" lang="en-GB" sz="1200" b="0" i="0" u="none" strike="noStrike" kern="1200" cap="none" spc="0" normalizeH="0" baseline="0" noProof="0" dirty="0">
                <a:ln>
                  <a:noFill/>
                </a:ln>
                <a:solidFill>
                  <a:srgbClr val="000000"/>
                </a:solidFill>
                <a:effectLst/>
                <a:uLnTx/>
                <a:uFillTx/>
                <a:latin typeface="Aptos"/>
                <a:ea typeface="+mn-ea"/>
                <a:cs typeface="+mn-cs"/>
              </a:rPr>
              <a:t> and promote equitable outcomes</a:t>
            </a:r>
            <a:endParaRPr kumimoji="0" lang="en-US" sz="1200" b="0" i="0" u="none" strike="noStrike" kern="1200" cap="none" spc="0" normalizeH="0" baseline="0" noProof="0" dirty="0">
              <a:ln>
                <a:noFill/>
              </a:ln>
              <a:solidFill>
                <a:srgbClr val="000000"/>
              </a:solidFill>
              <a:effectLst/>
              <a:uLnTx/>
              <a:uFillTx/>
              <a:latin typeface="Aptos"/>
              <a:ea typeface="+mn-ea"/>
              <a:cs typeface="+mn-cs"/>
            </a:endParaRPr>
          </a:p>
        </p:txBody>
      </p:sp>
      <p:sp>
        <p:nvSpPr>
          <p:cNvPr id="27" name="TextBox 26">
            <a:extLst>
              <a:ext uri="{FF2B5EF4-FFF2-40B4-BE49-F238E27FC236}">
                <a16:creationId xmlns:a16="http://schemas.microsoft.com/office/drawing/2014/main" id="{26055A07-E490-1B68-75FD-CDA7F9AA5C1C}"/>
              </a:ext>
            </a:extLst>
          </p:cNvPr>
          <p:cNvSpPr txBox="1"/>
          <p:nvPr/>
        </p:nvSpPr>
        <p:spPr>
          <a:xfrm>
            <a:off x="1828798" y="3339969"/>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Biculturalism</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p:txBody>
      </p:sp>
      <p:sp>
        <p:nvSpPr>
          <p:cNvPr id="46" name="TextBox 45">
            <a:extLst>
              <a:ext uri="{FF2B5EF4-FFF2-40B4-BE49-F238E27FC236}">
                <a16:creationId xmlns:a16="http://schemas.microsoft.com/office/drawing/2014/main" id="{9BF52171-A31C-D6E9-202A-A81A764A44E2}"/>
              </a:ext>
            </a:extLst>
          </p:cNvPr>
          <p:cNvSpPr txBox="1"/>
          <p:nvPr/>
        </p:nvSpPr>
        <p:spPr>
          <a:xfrm>
            <a:off x="1828798" y="5094773"/>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Post-Soviet nation-building</a:t>
            </a:r>
          </a:p>
        </p:txBody>
      </p:sp>
      <p:sp>
        <p:nvSpPr>
          <p:cNvPr id="47" name="TextBox 46">
            <a:extLst>
              <a:ext uri="{FF2B5EF4-FFF2-40B4-BE49-F238E27FC236}">
                <a16:creationId xmlns:a16="http://schemas.microsoft.com/office/drawing/2014/main" id="{25D3CB5A-150F-0A34-72C3-A903E2CB4ACC}"/>
              </a:ext>
            </a:extLst>
          </p:cNvPr>
          <p:cNvSpPr txBox="1"/>
          <p:nvPr/>
        </p:nvSpPr>
        <p:spPr>
          <a:xfrm>
            <a:off x="6838548" y="5053831"/>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Civic development</a:t>
            </a:r>
          </a:p>
        </p:txBody>
      </p:sp>
      <p:sp>
        <p:nvSpPr>
          <p:cNvPr id="48" name="TextBox 47">
            <a:extLst>
              <a:ext uri="{FF2B5EF4-FFF2-40B4-BE49-F238E27FC236}">
                <a16:creationId xmlns:a16="http://schemas.microsoft.com/office/drawing/2014/main" id="{DC8EB60B-6D5D-B17B-2E59-2B5AC7518602}"/>
              </a:ext>
            </a:extLst>
          </p:cNvPr>
          <p:cNvSpPr txBox="1"/>
          <p:nvPr/>
        </p:nvSpPr>
        <p:spPr>
          <a:xfrm>
            <a:off x="6838547" y="3613673"/>
            <a:ext cx="4817643"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Aims centred on </a:t>
            </a:r>
            <a:r>
              <a:rPr kumimoji="0" lang="en-GB" sz="1200" b="0" i="0" u="none" strike="noStrike" kern="1200" cap="none" spc="0" normalizeH="0" baseline="0" noProof="0" dirty="0">
                <a:ln>
                  <a:noFill/>
                </a:ln>
                <a:solidFill>
                  <a:srgbClr val="145164"/>
                </a:solidFill>
                <a:effectLst/>
                <a:uLnTx/>
                <a:uFillTx/>
                <a:latin typeface="Aptos"/>
                <a:ea typeface="+mn-ea"/>
                <a:cs typeface="+mn-cs"/>
              </a:rPr>
              <a:t>equity and inclusion</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Education Review Office (ERO) emphasises ensuring </a:t>
            </a:r>
            <a:r>
              <a:rPr kumimoji="0" lang="en-GB" sz="1200" b="0" i="0" u="none" strike="noStrike" kern="1200" cap="none" spc="0" normalizeH="0" baseline="0" noProof="0" dirty="0">
                <a:ln>
                  <a:noFill/>
                </a:ln>
                <a:solidFill>
                  <a:srgbClr val="145164"/>
                </a:solidFill>
                <a:effectLst/>
                <a:uLnTx/>
                <a:uFillTx/>
                <a:latin typeface="Aptos"/>
                <a:ea typeface="+mn-ea"/>
                <a:cs typeface="+mn-cs"/>
              </a:rPr>
              <a:t>equitable outcomes for Māori learners </a:t>
            </a:r>
            <a:r>
              <a:rPr kumimoji="0" lang="en-GB" sz="1200" b="0" i="0" u="none" strike="noStrike" kern="1200" cap="none" spc="0" normalizeH="0" baseline="0" noProof="0" dirty="0">
                <a:ln>
                  <a:noFill/>
                </a:ln>
                <a:solidFill>
                  <a:srgbClr val="000000"/>
                </a:solidFill>
                <a:effectLst/>
                <a:uLnTx/>
                <a:uFillTx/>
                <a:latin typeface="Aptos"/>
                <a:ea typeface="+mn-ea"/>
                <a:cs typeface="+mn-cs"/>
              </a:rPr>
              <a:t>and the evaluation of services which aim to lift Māori achievement </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ERO’s reviews are intended to support kura (schools) in </a:t>
            </a:r>
            <a:r>
              <a:rPr kumimoji="0" lang="en-GB" sz="1200" b="0" i="0" u="none" strike="noStrike" kern="1200" cap="none" spc="0" normalizeH="0" baseline="0" noProof="0" dirty="0">
                <a:ln>
                  <a:noFill/>
                </a:ln>
                <a:solidFill>
                  <a:srgbClr val="145164"/>
                </a:solidFill>
                <a:effectLst/>
                <a:uLnTx/>
                <a:uFillTx/>
                <a:latin typeface="Aptos"/>
                <a:ea typeface="+mn-ea"/>
                <a:cs typeface="+mn-cs"/>
              </a:rPr>
              <a:t>valuing, affirming, and strengthening Māori identity</a:t>
            </a:r>
            <a:r>
              <a:rPr kumimoji="0" lang="en-GB" sz="1200" b="0" i="0" u="none" strike="noStrike" kern="1200" cap="none" spc="0" normalizeH="0" baseline="0" noProof="0" dirty="0">
                <a:ln>
                  <a:noFill/>
                </a:ln>
                <a:solidFill>
                  <a:srgbClr val="000000"/>
                </a:solidFill>
                <a:effectLst/>
                <a:uLnTx/>
                <a:uFillTx/>
                <a:latin typeface="Aptos"/>
                <a:ea typeface="+mn-ea"/>
                <a:cs typeface="+mn-cs"/>
              </a:rPr>
              <a:t>, language, and culture</a:t>
            </a:r>
          </a:p>
        </p:txBody>
      </p:sp>
      <p:sp>
        <p:nvSpPr>
          <p:cNvPr id="49" name="TextBox 48">
            <a:extLst>
              <a:ext uri="{FF2B5EF4-FFF2-40B4-BE49-F238E27FC236}">
                <a16:creationId xmlns:a16="http://schemas.microsoft.com/office/drawing/2014/main" id="{94AD3E5D-3EF3-C1D0-5F10-4669BEF26C43}"/>
              </a:ext>
            </a:extLst>
          </p:cNvPr>
          <p:cNvSpPr txBox="1"/>
          <p:nvPr/>
        </p:nvSpPr>
        <p:spPr>
          <a:xfrm>
            <a:off x="6838547" y="1899814"/>
            <a:ext cx="4817643"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lang="en-GB" sz="1200" dirty="0">
                <a:solidFill>
                  <a:srgbClr val="000000"/>
                </a:solidFill>
                <a:latin typeface="Aptos"/>
              </a:rPr>
              <a:t>Focus on </a:t>
            </a:r>
            <a:r>
              <a:rPr lang="en-GB" sz="1200" dirty="0">
                <a:solidFill>
                  <a:srgbClr val="145164"/>
                </a:solidFill>
                <a:latin typeface="Aptos"/>
              </a:rPr>
              <a:t>measuring achievement and identifying ‘potential’.</a:t>
            </a:r>
            <a:endParaRPr lang="en-GB" sz="1200" dirty="0">
              <a:solidFill>
                <a:srgbClr val="000000"/>
              </a:solidFill>
              <a:latin typeface="Aptos"/>
            </a:endParaRP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145164"/>
                </a:solidFill>
                <a:effectLst/>
                <a:uLnTx/>
                <a:uFillTx/>
                <a:latin typeface="Aptos"/>
                <a:ea typeface="+mn-ea"/>
                <a:cs typeface="+mn-cs"/>
              </a:rPr>
              <a:t>Professional accountability system (EPMS) used to enhance quality of educators: </a:t>
            </a:r>
            <a:r>
              <a:rPr kumimoji="0" lang="en-GB" sz="1200" b="0" i="0" u="none" strike="noStrike" kern="1200" cap="none" spc="0" normalizeH="0" baseline="0" noProof="0" dirty="0">
                <a:ln>
                  <a:noFill/>
                </a:ln>
                <a:solidFill>
                  <a:srgbClr val="000000"/>
                </a:solidFill>
                <a:effectLst/>
                <a:uLnTx/>
                <a:uFillTx/>
                <a:latin typeface="Aptos"/>
                <a:ea typeface="+mn-ea"/>
                <a:cs typeface="+mn-cs"/>
              </a:rPr>
              <a:t>requires teachers to document targets and achievements, rewards and penalises based on performance </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Influences/linked to </a:t>
            </a:r>
            <a:r>
              <a:rPr kumimoji="0" lang="en-GB" sz="1200" b="0" i="0" u="none" strike="noStrike" kern="1200" cap="none" spc="0" normalizeH="0" baseline="0" noProof="0" dirty="0">
                <a:ln>
                  <a:noFill/>
                </a:ln>
                <a:solidFill>
                  <a:srgbClr val="145164"/>
                </a:solidFill>
                <a:effectLst/>
                <a:uLnTx/>
                <a:uFillTx/>
                <a:latin typeface="Aptos"/>
                <a:ea typeface="+mn-ea"/>
                <a:cs typeface="+mn-cs"/>
              </a:rPr>
              <a:t>teachers’ strong sense of responsibility </a:t>
            </a:r>
            <a:r>
              <a:rPr kumimoji="0" lang="en-GB" sz="1200" b="0" i="0" u="none" strike="noStrike" kern="1200" cap="none" spc="0" normalizeH="0" baseline="0" noProof="0" dirty="0">
                <a:ln>
                  <a:noFill/>
                </a:ln>
                <a:solidFill>
                  <a:srgbClr val="000000"/>
                </a:solidFill>
                <a:effectLst/>
                <a:uLnTx/>
                <a:uFillTx/>
                <a:latin typeface="Aptos"/>
                <a:ea typeface="+mn-ea"/>
                <a:cs typeface="+mn-cs"/>
              </a:rPr>
              <a:t>and pressure to maintain high standards </a:t>
            </a:r>
            <a:endParaRPr kumimoji="0" lang="en-US" sz="1200" b="1" i="0" u="none" strike="noStrike" kern="1200" cap="none" spc="0" normalizeH="0" baseline="0" noProof="0" dirty="0">
              <a:ln>
                <a:noFill/>
              </a:ln>
              <a:solidFill>
                <a:srgbClr val="000000"/>
              </a:solidFill>
              <a:effectLst/>
              <a:uLnTx/>
              <a:uFillTx/>
              <a:latin typeface="Aptos"/>
              <a:ea typeface="+mn-ea"/>
              <a:cs typeface="+mn-cs"/>
            </a:endParaRPr>
          </a:p>
        </p:txBody>
      </p:sp>
      <p:sp>
        <p:nvSpPr>
          <p:cNvPr id="58" name="TextBox 57">
            <a:extLst>
              <a:ext uri="{FF2B5EF4-FFF2-40B4-BE49-F238E27FC236}">
                <a16:creationId xmlns:a16="http://schemas.microsoft.com/office/drawing/2014/main" id="{4D454146-EEF9-379B-718B-918555CD7BE9}"/>
              </a:ext>
            </a:extLst>
          </p:cNvPr>
          <p:cNvSpPr txBox="1"/>
          <p:nvPr/>
        </p:nvSpPr>
        <p:spPr>
          <a:xfrm>
            <a:off x="6838548" y="3339969"/>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Equity and inclusion </a:t>
            </a:r>
          </a:p>
        </p:txBody>
      </p:sp>
      <p:sp>
        <p:nvSpPr>
          <p:cNvPr id="59" name="TextBox 58">
            <a:extLst>
              <a:ext uri="{FF2B5EF4-FFF2-40B4-BE49-F238E27FC236}">
                <a16:creationId xmlns:a16="http://schemas.microsoft.com/office/drawing/2014/main" id="{7553D269-F0C7-4194-8E68-62EB16430B74}"/>
              </a:ext>
            </a:extLst>
          </p:cNvPr>
          <p:cNvSpPr txBox="1"/>
          <p:nvPr/>
        </p:nvSpPr>
        <p:spPr>
          <a:xfrm>
            <a:off x="6838548" y="1571519"/>
            <a:ext cx="4724802" cy="193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Outcomes &amp; Performance</a:t>
            </a:r>
          </a:p>
        </p:txBody>
      </p:sp>
      <p:cxnSp>
        <p:nvCxnSpPr>
          <p:cNvPr id="63" name="Straight Connector 62">
            <a:extLst>
              <a:ext uri="{FF2B5EF4-FFF2-40B4-BE49-F238E27FC236}">
                <a16:creationId xmlns:a16="http://schemas.microsoft.com/office/drawing/2014/main" id="{65E61241-125C-47BD-9D54-223E5BD94B71}"/>
              </a:ext>
            </a:extLst>
          </p:cNvPr>
          <p:cNvCxnSpPr/>
          <p:nvPr/>
        </p:nvCxnSpPr>
        <p:spPr>
          <a:xfrm>
            <a:off x="6696074" y="3403168"/>
            <a:ext cx="0" cy="1264003"/>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B2243F-9FC4-4389-9AC2-34404EF8A8A5}"/>
              </a:ext>
            </a:extLst>
          </p:cNvPr>
          <p:cNvCxnSpPr/>
          <p:nvPr/>
        </p:nvCxnSpPr>
        <p:spPr>
          <a:xfrm>
            <a:off x="6696074" y="5185269"/>
            <a:ext cx="0" cy="1264003"/>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3073533-EF08-4DB3-91FA-EC5854FBA75D}"/>
              </a:ext>
            </a:extLst>
          </p:cNvPr>
          <p:cNvCxnSpPr/>
          <p:nvPr/>
        </p:nvCxnSpPr>
        <p:spPr>
          <a:xfrm>
            <a:off x="630000" y="3185066"/>
            <a:ext cx="1114818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B312C9F-B975-4979-96B1-1F1597A7A871}"/>
              </a:ext>
            </a:extLst>
          </p:cNvPr>
          <p:cNvCxnSpPr/>
          <p:nvPr/>
        </p:nvCxnSpPr>
        <p:spPr>
          <a:xfrm>
            <a:off x="630000" y="4939869"/>
            <a:ext cx="1114818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DDED12FB-CD75-48C9-95B4-0A34195050A6}"/>
              </a:ext>
            </a:extLst>
          </p:cNvPr>
          <p:cNvGrpSpPr/>
          <p:nvPr/>
        </p:nvGrpSpPr>
        <p:grpSpPr>
          <a:xfrm>
            <a:off x="6569074" y="2262552"/>
            <a:ext cx="254002" cy="254000"/>
            <a:chOff x="6588656" y="2393324"/>
            <a:chExt cx="214837" cy="214837"/>
          </a:xfrm>
        </p:grpSpPr>
        <p:sp>
          <p:nvSpPr>
            <p:cNvPr id="8" name="Oval 7">
              <a:extLst>
                <a:ext uri="{FF2B5EF4-FFF2-40B4-BE49-F238E27FC236}">
                  <a16:creationId xmlns:a16="http://schemas.microsoft.com/office/drawing/2014/main" id="{B47CC82A-F75A-4BE4-B602-07D6F35758BC}"/>
                </a:ext>
              </a:extLst>
            </p:cNvPr>
            <p:cNvSpPr/>
            <p:nvPr>
              <p:custDataLst>
                <p:tags r:id="rId4"/>
              </p:custDataLst>
            </p:nvPr>
          </p:nvSpPr>
          <p:spPr>
            <a:xfrm>
              <a:off x="6588656" y="2393324"/>
              <a:ext cx="214837" cy="214837"/>
            </a:xfrm>
            <a:prstGeom prst="ellipse">
              <a:avLst/>
            </a:prstGeom>
            <a:solidFill>
              <a:srgbClr val="FFFFFF"/>
            </a:solidFill>
            <a:ln w="19050" cap="flat" cmpd="sng" algn="ctr">
              <a:solidFill>
                <a:srgbClr val="FFFFFF"/>
              </a:solid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ptos"/>
                <a:ea typeface="+mn-ea"/>
                <a:cs typeface="+mn-cs"/>
              </a:endParaRPr>
            </a:p>
          </p:txBody>
        </p:sp>
        <p:grpSp>
          <p:nvGrpSpPr>
            <p:cNvPr id="56" name="bcgIcons_Moving forward">
              <a:extLst>
                <a:ext uri="{FF2B5EF4-FFF2-40B4-BE49-F238E27FC236}">
                  <a16:creationId xmlns:a16="http://schemas.microsoft.com/office/drawing/2014/main" id="{9B4ABE7E-3399-498E-8A0D-0F5995CE2587}"/>
                </a:ext>
              </a:extLst>
            </p:cNvPr>
            <p:cNvGrpSpPr>
              <a:grpSpLocks noChangeAspect="1"/>
            </p:cNvGrpSpPr>
            <p:nvPr/>
          </p:nvGrpSpPr>
          <p:grpSpPr>
            <a:xfrm>
              <a:off x="6620118" y="2424786"/>
              <a:ext cx="151913" cy="151913"/>
              <a:chOff x="5273040" y="2606040"/>
              <a:chExt cx="1645920" cy="1645920"/>
            </a:xfrm>
          </p:grpSpPr>
          <p:sp>
            <p:nvSpPr>
              <p:cNvPr id="57" name="AutoShape 10">
                <a:extLst>
                  <a:ext uri="{FF2B5EF4-FFF2-40B4-BE49-F238E27FC236}">
                    <a16:creationId xmlns:a16="http://schemas.microsoft.com/office/drawing/2014/main" id="{9B06F5CC-0AFC-4812-B7EB-F3EEAF82AE8F}"/>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71" name="Group 70">
                <a:extLst>
                  <a:ext uri="{FF2B5EF4-FFF2-40B4-BE49-F238E27FC236}">
                    <a16:creationId xmlns:a16="http://schemas.microsoft.com/office/drawing/2014/main" id="{545ECC45-C9E7-412A-854E-C212B3A97E4F}"/>
                  </a:ext>
                </a:extLst>
              </p:cNvPr>
              <p:cNvGrpSpPr/>
              <p:nvPr/>
            </p:nvGrpSpPr>
            <p:grpSpPr>
              <a:xfrm>
                <a:off x="5493600" y="3042286"/>
                <a:ext cx="1205866" cy="773430"/>
                <a:chOff x="5493600" y="3042286"/>
                <a:chExt cx="1205866" cy="773430"/>
              </a:xfrm>
            </p:grpSpPr>
            <p:sp>
              <p:nvSpPr>
                <p:cNvPr id="72" name="AutoShape 12">
                  <a:extLst>
                    <a:ext uri="{FF2B5EF4-FFF2-40B4-BE49-F238E27FC236}">
                      <a16:creationId xmlns:a16="http://schemas.microsoft.com/office/drawing/2014/main" id="{4A6F62B7-4CCC-433E-9352-41A4609B7EE4}"/>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73" name="Group 72">
                  <a:extLst>
                    <a:ext uri="{FF2B5EF4-FFF2-40B4-BE49-F238E27FC236}">
                      <a16:creationId xmlns:a16="http://schemas.microsoft.com/office/drawing/2014/main" id="{EC90C362-D8C0-41F7-B0E4-500DBAEAA3AE}"/>
                    </a:ext>
                  </a:extLst>
                </p:cNvPr>
                <p:cNvGrpSpPr/>
                <p:nvPr/>
              </p:nvGrpSpPr>
              <p:grpSpPr>
                <a:xfrm>
                  <a:off x="5493600" y="3042286"/>
                  <a:ext cx="1205866" cy="773430"/>
                  <a:chOff x="5493600" y="3042286"/>
                  <a:chExt cx="1205866" cy="773430"/>
                </a:xfrm>
              </p:grpSpPr>
              <p:sp>
                <p:nvSpPr>
                  <p:cNvPr id="74" name="Freeform 14">
                    <a:extLst>
                      <a:ext uri="{FF2B5EF4-FFF2-40B4-BE49-F238E27FC236}">
                        <a16:creationId xmlns:a16="http://schemas.microsoft.com/office/drawing/2014/main" id="{0275A0AA-D402-4E92-9790-5DD0B14B8A18}"/>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rgbClr val="145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75" name="Freeform 15">
                    <a:extLst>
                      <a:ext uri="{FF2B5EF4-FFF2-40B4-BE49-F238E27FC236}">
                        <a16:creationId xmlns:a16="http://schemas.microsoft.com/office/drawing/2014/main" id="{A80279D4-986A-4ECE-B7E2-6F3606EA3E84}"/>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rgbClr val="0B2D3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grpSp>
      </p:grpSp>
      <p:cxnSp>
        <p:nvCxnSpPr>
          <p:cNvPr id="32" name="Straight Connector 31">
            <a:extLst>
              <a:ext uri="{FF2B5EF4-FFF2-40B4-BE49-F238E27FC236}">
                <a16:creationId xmlns:a16="http://schemas.microsoft.com/office/drawing/2014/main" id="{E735FFA6-4DB7-4C2E-A7A6-29178128598C}"/>
              </a:ext>
            </a:extLst>
          </p:cNvPr>
          <p:cNvCxnSpPr/>
          <p:nvPr/>
        </p:nvCxnSpPr>
        <p:spPr>
          <a:xfrm>
            <a:off x="1828798" y="1839084"/>
            <a:ext cx="4724802"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561ED9C-D999-4FC6-9D05-A36DBC1DCE81}"/>
              </a:ext>
            </a:extLst>
          </p:cNvPr>
          <p:cNvCxnSpPr/>
          <p:nvPr/>
        </p:nvCxnSpPr>
        <p:spPr>
          <a:xfrm>
            <a:off x="6838547" y="1839084"/>
            <a:ext cx="4724802"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2CFDDDC-6B17-4720-94DA-B56C3C5E4108}"/>
              </a:ext>
            </a:extLst>
          </p:cNvPr>
          <p:cNvCxnSpPr/>
          <p:nvPr/>
        </p:nvCxnSpPr>
        <p:spPr>
          <a:xfrm>
            <a:off x="1828798" y="3539295"/>
            <a:ext cx="4724802"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AC17DCE-68D5-4F7D-8F61-BE5569E41C28}"/>
              </a:ext>
            </a:extLst>
          </p:cNvPr>
          <p:cNvCxnSpPr/>
          <p:nvPr/>
        </p:nvCxnSpPr>
        <p:spPr>
          <a:xfrm>
            <a:off x="6838547" y="3539295"/>
            <a:ext cx="4724802"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9CC1C2-52E1-4916-90F5-2D3FDB5147F9}"/>
              </a:ext>
            </a:extLst>
          </p:cNvPr>
          <p:cNvCxnSpPr/>
          <p:nvPr/>
        </p:nvCxnSpPr>
        <p:spPr>
          <a:xfrm>
            <a:off x="6838547" y="5294104"/>
            <a:ext cx="4817644"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96A41A5-BA80-4F44-BD61-0BF6DE3A063A}"/>
              </a:ext>
            </a:extLst>
          </p:cNvPr>
          <p:cNvGrpSpPr/>
          <p:nvPr/>
        </p:nvGrpSpPr>
        <p:grpSpPr>
          <a:xfrm>
            <a:off x="630000" y="3558054"/>
            <a:ext cx="989742" cy="1090715"/>
            <a:chOff x="630000" y="3397813"/>
            <a:chExt cx="989742" cy="1090715"/>
          </a:xfrm>
        </p:grpSpPr>
        <p:sp>
          <p:nvSpPr>
            <p:cNvPr id="60" name="TextBox 59">
              <a:extLst>
                <a:ext uri="{FF2B5EF4-FFF2-40B4-BE49-F238E27FC236}">
                  <a16:creationId xmlns:a16="http://schemas.microsoft.com/office/drawing/2014/main" id="{87FA6D91-5227-CDAC-4351-C7959DC21EA5}"/>
                </a:ext>
              </a:extLst>
            </p:cNvPr>
            <p:cNvSpPr txBox="1"/>
            <p:nvPr/>
          </p:nvSpPr>
          <p:spPr>
            <a:xfrm>
              <a:off x="630000" y="4057641"/>
              <a:ext cx="989742"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5164"/>
                  </a:solidFill>
                  <a:effectLst/>
                  <a:uLnTx/>
                  <a:uFillTx/>
                  <a:latin typeface="Aptos"/>
                  <a:ea typeface="+mn-ea"/>
                  <a:cs typeface="+mn-cs"/>
                </a:rPr>
                <a:t>New Zealand</a:t>
              </a:r>
            </a:p>
          </p:txBody>
        </p:sp>
        <p:pic>
          <p:nvPicPr>
            <p:cNvPr id="3" name="flag_newzealand">
              <a:extLst>
                <a:ext uri="{FF2B5EF4-FFF2-40B4-BE49-F238E27FC236}">
                  <a16:creationId xmlns:a16="http://schemas.microsoft.com/office/drawing/2014/main" id="{B10E1D9A-1DAC-DDD8-66B3-C4A9D51E7194}"/>
                </a:ext>
              </a:extLst>
            </p:cNvPr>
            <p:cNvPicPr>
              <a:picLocks noChangeAspect="1"/>
            </p:cNvPicPr>
            <p:nvPr/>
          </p:nvPicPr>
          <p:blipFill>
            <a:blip r:embed="rId9"/>
            <a:srcRect r="19954" b="11061"/>
            <a:stretch>
              <a:fillRect/>
            </a:stretch>
          </p:blipFill>
          <p:spPr>
            <a:xfrm>
              <a:off x="630000" y="3397813"/>
              <a:ext cx="989741" cy="659828"/>
            </a:xfrm>
            <a:prstGeom prst="rect">
              <a:avLst/>
            </a:prstGeom>
            <a:ln w="9525" cap="flat" cmpd="sng" algn="ctr">
              <a:solidFill>
                <a:schemeClr val="tx1"/>
              </a:solidFill>
              <a:prstDash val="solid"/>
              <a:round/>
              <a:headEnd type="none" w="med" len="med"/>
              <a:tailEnd type="none" w="med" len="med"/>
            </a:ln>
          </p:spPr>
        </p:pic>
      </p:grpSp>
      <p:grpSp>
        <p:nvGrpSpPr>
          <p:cNvPr id="17" name="Group 16">
            <a:extLst>
              <a:ext uri="{FF2B5EF4-FFF2-40B4-BE49-F238E27FC236}">
                <a16:creationId xmlns:a16="http://schemas.microsoft.com/office/drawing/2014/main" id="{841B4A00-32F9-4158-8F74-1E3A577F3176}"/>
              </a:ext>
            </a:extLst>
          </p:cNvPr>
          <p:cNvGrpSpPr/>
          <p:nvPr/>
        </p:nvGrpSpPr>
        <p:grpSpPr>
          <a:xfrm>
            <a:off x="630000" y="5379635"/>
            <a:ext cx="989742" cy="875272"/>
            <a:chOff x="630000" y="4995486"/>
            <a:chExt cx="989742" cy="875272"/>
          </a:xfrm>
        </p:grpSpPr>
        <p:sp>
          <p:nvSpPr>
            <p:cNvPr id="61" name="TextBox 60">
              <a:extLst>
                <a:ext uri="{FF2B5EF4-FFF2-40B4-BE49-F238E27FC236}">
                  <a16:creationId xmlns:a16="http://schemas.microsoft.com/office/drawing/2014/main" id="{A5F9B0C5-8BF6-8F35-2A44-4CB5D5717600}"/>
                </a:ext>
              </a:extLst>
            </p:cNvPr>
            <p:cNvSpPr txBox="1"/>
            <p:nvPr/>
          </p:nvSpPr>
          <p:spPr>
            <a:xfrm>
              <a:off x="630000" y="5655314"/>
              <a:ext cx="9897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5164"/>
                  </a:solidFill>
                  <a:effectLst/>
                  <a:uLnTx/>
                  <a:uFillTx/>
                  <a:latin typeface="Aptos"/>
                  <a:ea typeface="+mn-ea"/>
                  <a:cs typeface="+mn-cs"/>
                </a:rPr>
                <a:t>Estonia </a:t>
              </a:r>
            </a:p>
          </p:txBody>
        </p:sp>
        <p:pic>
          <p:nvPicPr>
            <p:cNvPr id="4" name="flag_estonia">
              <a:extLst>
                <a:ext uri="{FF2B5EF4-FFF2-40B4-BE49-F238E27FC236}">
                  <a16:creationId xmlns:a16="http://schemas.microsoft.com/office/drawing/2014/main" id="{81758E9D-82EE-26D3-22D0-EEDD4BE2086F}"/>
                </a:ext>
              </a:extLst>
            </p:cNvPr>
            <p:cNvPicPr>
              <a:picLocks noChangeAspect="1" noChangeArrowheads="1"/>
            </p:cNvPicPr>
            <p:nvPr/>
          </p:nvPicPr>
          <p:blipFill>
            <a:blip r:embed="rId10"/>
            <a:srcRect r="4563"/>
            <a:stretch>
              <a:fillRect/>
            </a:stretch>
          </p:blipFill>
          <p:spPr bwMode="auto">
            <a:xfrm>
              <a:off x="630000" y="4995486"/>
              <a:ext cx="989742" cy="659828"/>
            </a:xfrm>
            <a:prstGeom prst="rect">
              <a:avLst/>
            </a:prstGeom>
            <a:noFill/>
            <a:ln w="2222" cap="flat" cmpd="sng" algn="ctr">
              <a:solidFill>
                <a:schemeClr val="tx1"/>
              </a:solidFill>
              <a:prstDash val="solid"/>
              <a:round/>
              <a:headEnd type="none" w="med" len="med"/>
              <a:tailEnd type="none" w="med" len="med"/>
            </a:ln>
          </p:spPr>
        </p:pic>
      </p:grpSp>
      <p:grpSp>
        <p:nvGrpSpPr>
          <p:cNvPr id="24" name="Group 23">
            <a:extLst>
              <a:ext uri="{FF2B5EF4-FFF2-40B4-BE49-F238E27FC236}">
                <a16:creationId xmlns:a16="http://schemas.microsoft.com/office/drawing/2014/main" id="{EE5A604D-1DAA-4DC5-93A7-B1515BF55122}"/>
              </a:ext>
            </a:extLst>
          </p:cNvPr>
          <p:cNvGrpSpPr/>
          <p:nvPr/>
        </p:nvGrpSpPr>
        <p:grpSpPr>
          <a:xfrm>
            <a:off x="630000" y="1951917"/>
            <a:ext cx="990360" cy="875272"/>
            <a:chOff x="630000" y="2012941"/>
            <a:chExt cx="990360" cy="875272"/>
          </a:xfrm>
        </p:grpSpPr>
        <p:sp>
          <p:nvSpPr>
            <p:cNvPr id="20" name="TextBox 19">
              <a:extLst>
                <a:ext uri="{FF2B5EF4-FFF2-40B4-BE49-F238E27FC236}">
                  <a16:creationId xmlns:a16="http://schemas.microsoft.com/office/drawing/2014/main" id="{7BD7485C-1F5F-B37C-54B1-D252DA3A6411}"/>
                </a:ext>
              </a:extLst>
            </p:cNvPr>
            <p:cNvSpPr txBox="1"/>
            <p:nvPr/>
          </p:nvSpPr>
          <p:spPr>
            <a:xfrm>
              <a:off x="630000" y="2672769"/>
              <a:ext cx="9897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5164"/>
                  </a:solidFill>
                  <a:effectLst/>
                  <a:uLnTx/>
                  <a:uFillTx/>
                  <a:latin typeface="Aptos"/>
                  <a:ea typeface="+mn-ea"/>
                  <a:cs typeface="+mn-cs"/>
                </a:rPr>
                <a:t>Singapore</a:t>
              </a:r>
            </a:p>
          </p:txBody>
        </p:sp>
        <p:pic>
          <p:nvPicPr>
            <p:cNvPr id="5" name="flag_singapore">
              <a:extLst>
                <a:ext uri="{FF2B5EF4-FFF2-40B4-BE49-F238E27FC236}">
                  <a16:creationId xmlns:a16="http://schemas.microsoft.com/office/drawing/2014/main" id="{FA723EA5-0C33-B175-8B95-2C0D67DF0778}"/>
                </a:ext>
              </a:extLst>
            </p:cNvPr>
            <p:cNvPicPr>
              <a:picLocks noChangeAspect="1" noChangeArrowheads="1"/>
            </p:cNvPicPr>
            <p:nvPr/>
          </p:nvPicPr>
          <p:blipFill>
            <a:blip r:embed="rId11"/>
            <a:srcRect/>
            <a:stretch>
              <a:fillRect/>
            </a:stretch>
          </p:blipFill>
          <p:spPr bwMode="auto">
            <a:xfrm>
              <a:off x="630000" y="2012941"/>
              <a:ext cx="990360" cy="659828"/>
            </a:xfrm>
            <a:prstGeom prst="rect">
              <a:avLst/>
            </a:prstGeom>
            <a:noFill/>
            <a:ln w="2222" cap="flat" cmpd="sng" algn="ctr">
              <a:solidFill>
                <a:schemeClr val="tx1"/>
              </a:solidFill>
              <a:prstDash val="solid"/>
              <a:round/>
              <a:headEnd type="none" w="med" len="med"/>
              <a:tailEnd type="none" w="med" len="med"/>
            </a:ln>
          </p:spPr>
        </p:pic>
      </p:grpSp>
      <p:grpSp>
        <p:nvGrpSpPr>
          <p:cNvPr id="78" name="Group 77">
            <a:extLst>
              <a:ext uri="{FF2B5EF4-FFF2-40B4-BE49-F238E27FC236}">
                <a16:creationId xmlns:a16="http://schemas.microsoft.com/office/drawing/2014/main" id="{44B89243-AA42-4557-818F-748F28B03D24}"/>
              </a:ext>
            </a:extLst>
          </p:cNvPr>
          <p:cNvGrpSpPr/>
          <p:nvPr/>
        </p:nvGrpSpPr>
        <p:grpSpPr>
          <a:xfrm>
            <a:off x="6569074" y="3908170"/>
            <a:ext cx="254002" cy="254000"/>
            <a:chOff x="6588656" y="2393324"/>
            <a:chExt cx="214837" cy="214837"/>
          </a:xfrm>
        </p:grpSpPr>
        <p:sp>
          <p:nvSpPr>
            <p:cNvPr id="79" name="Oval 78">
              <a:extLst>
                <a:ext uri="{FF2B5EF4-FFF2-40B4-BE49-F238E27FC236}">
                  <a16:creationId xmlns:a16="http://schemas.microsoft.com/office/drawing/2014/main" id="{B7638136-82D7-49AE-9DD6-A67C30C6B76D}"/>
                </a:ext>
              </a:extLst>
            </p:cNvPr>
            <p:cNvSpPr/>
            <p:nvPr>
              <p:custDataLst>
                <p:tags r:id="rId3"/>
              </p:custDataLst>
            </p:nvPr>
          </p:nvSpPr>
          <p:spPr>
            <a:xfrm>
              <a:off x="6588656" y="2393324"/>
              <a:ext cx="214837" cy="214837"/>
            </a:xfrm>
            <a:prstGeom prst="ellipse">
              <a:avLst/>
            </a:prstGeom>
            <a:solidFill>
              <a:srgbClr val="FFFFFF"/>
            </a:solidFill>
            <a:ln w="19050" cap="flat" cmpd="sng" algn="ctr">
              <a:solidFill>
                <a:srgbClr val="FFFFFF"/>
              </a:solid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ptos"/>
                <a:ea typeface="+mn-ea"/>
                <a:cs typeface="+mn-cs"/>
              </a:endParaRPr>
            </a:p>
          </p:txBody>
        </p:sp>
        <p:grpSp>
          <p:nvGrpSpPr>
            <p:cNvPr id="80" name="bcgIcons_Moving forward">
              <a:extLst>
                <a:ext uri="{FF2B5EF4-FFF2-40B4-BE49-F238E27FC236}">
                  <a16:creationId xmlns:a16="http://schemas.microsoft.com/office/drawing/2014/main" id="{D4F6A883-0471-4750-99E9-714A96EBA9B3}"/>
                </a:ext>
              </a:extLst>
            </p:cNvPr>
            <p:cNvGrpSpPr>
              <a:grpSpLocks noChangeAspect="1"/>
            </p:cNvGrpSpPr>
            <p:nvPr/>
          </p:nvGrpSpPr>
          <p:grpSpPr>
            <a:xfrm>
              <a:off x="6620118" y="2424786"/>
              <a:ext cx="151913" cy="151913"/>
              <a:chOff x="5273040" y="2606040"/>
              <a:chExt cx="1645920" cy="1645920"/>
            </a:xfrm>
          </p:grpSpPr>
          <p:sp>
            <p:nvSpPr>
              <p:cNvPr id="82" name="AutoShape 10">
                <a:extLst>
                  <a:ext uri="{FF2B5EF4-FFF2-40B4-BE49-F238E27FC236}">
                    <a16:creationId xmlns:a16="http://schemas.microsoft.com/office/drawing/2014/main" id="{E72F8EBF-5AB3-4EA4-B7B8-8A6216573178}"/>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83" name="Group 82">
                <a:extLst>
                  <a:ext uri="{FF2B5EF4-FFF2-40B4-BE49-F238E27FC236}">
                    <a16:creationId xmlns:a16="http://schemas.microsoft.com/office/drawing/2014/main" id="{29914BEF-37DD-47F0-BB40-5BA438C1AED5}"/>
                  </a:ext>
                </a:extLst>
              </p:cNvPr>
              <p:cNvGrpSpPr/>
              <p:nvPr/>
            </p:nvGrpSpPr>
            <p:grpSpPr>
              <a:xfrm>
                <a:off x="5493600" y="3042286"/>
                <a:ext cx="1205866" cy="773430"/>
                <a:chOff x="5493600" y="3042286"/>
                <a:chExt cx="1205866" cy="773430"/>
              </a:xfrm>
            </p:grpSpPr>
            <p:sp>
              <p:nvSpPr>
                <p:cNvPr id="84" name="AutoShape 12">
                  <a:extLst>
                    <a:ext uri="{FF2B5EF4-FFF2-40B4-BE49-F238E27FC236}">
                      <a16:creationId xmlns:a16="http://schemas.microsoft.com/office/drawing/2014/main" id="{38A7A99A-5A2D-41A1-A71C-FF56C2D4FDC9}"/>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93" name="Group 92">
                  <a:extLst>
                    <a:ext uri="{FF2B5EF4-FFF2-40B4-BE49-F238E27FC236}">
                      <a16:creationId xmlns:a16="http://schemas.microsoft.com/office/drawing/2014/main" id="{78A314AD-299B-4062-A09E-80FAAF53E6B9}"/>
                    </a:ext>
                  </a:extLst>
                </p:cNvPr>
                <p:cNvGrpSpPr/>
                <p:nvPr/>
              </p:nvGrpSpPr>
              <p:grpSpPr>
                <a:xfrm>
                  <a:off x="5493600" y="3042286"/>
                  <a:ext cx="1205866" cy="773430"/>
                  <a:chOff x="5493600" y="3042286"/>
                  <a:chExt cx="1205866" cy="773430"/>
                </a:xfrm>
              </p:grpSpPr>
              <p:sp>
                <p:nvSpPr>
                  <p:cNvPr id="94" name="Freeform 14">
                    <a:extLst>
                      <a:ext uri="{FF2B5EF4-FFF2-40B4-BE49-F238E27FC236}">
                        <a16:creationId xmlns:a16="http://schemas.microsoft.com/office/drawing/2014/main" id="{7C21A553-F1CA-4289-9155-D81EA99DE067}"/>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rgbClr val="145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95" name="Freeform 15">
                    <a:extLst>
                      <a:ext uri="{FF2B5EF4-FFF2-40B4-BE49-F238E27FC236}">
                        <a16:creationId xmlns:a16="http://schemas.microsoft.com/office/drawing/2014/main" id="{694ADF42-DBCD-4A63-AB23-6A407BAAC0A1}"/>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rgbClr val="0B2D3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grpSp>
      </p:grpSp>
      <p:grpSp>
        <p:nvGrpSpPr>
          <p:cNvPr id="96" name="Group 95">
            <a:extLst>
              <a:ext uri="{FF2B5EF4-FFF2-40B4-BE49-F238E27FC236}">
                <a16:creationId xmlns:a16="http://schemas.microsoft.com/office/drawing/2014/main" id="{6E1454AF-871E-401C-814A-4FAC9B925D09}"/>
              </a:ext>
            </a:extLst>
          </p:cNvPr>
          <p:cNvGrpSpPr/>
          <p:nvPr/>
        </p:nvGrpSpPr>
        <p:grpSpPr>
          <a:xfrm>
            <a:off x="6569074" y="5690271"/>
            <a:ext cx="254002" cy="254000"/>
            <a:chOff x="6588656" y="2393324"/>
            <a:chExt cx="214837" cy="214837"/>
          </a:xfrm>
        </p:grpSpPr>
        <p:sp>
          <p:nvSpPr>
            <p:cNvPr id="97" name="Oval 96">
              <a:extLst>
                <a:ext uri="{FF2B5EF4-FFF2-40B4-BE49-F238E27FC236}">
                  <a16:creationId xmlns:a16="http://schemas.microsoft.com/office/drawing/2014/main" id="{E988D017-9067-4E0E-B0C3-E40B7FB4FB47}"/>
                </a:ext>
              </a:extLst>
            </p:cNvPr>
            <p:cNvSpPr/>
            <p:nvPr>
              <p:custDataLst>
                <p:tags r:id="rId2"/>
              </p:custDataLst>
            </p:nvPr>
          </p:nvSpPr>
          <p:spPr>
            <a:xfrm>
              <a:off x="6588656" y="2393324"/>
              <a:ext cx="214837" cy="214837"/>
            </a:xfrm>
            <a:prstGeom prst="ellipse">
              <a:avLst/>
            </a:prstGeom>
            <a:solidFill>
              <a:srgbClr val="FFFFFF"/>
            </a:solidFill>
            <a:ln w="19050" cap="flat" cmpd="sng" algn="ctr">
              <a:solidFill>
                <a:srgbClr val="FFFFFF"/>
              </a:solid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ptos"/>
                <a:ea typeface="+mn-ea"/>
                <a:cs typeface="+mn-cs"/>
              </a:endParaRPr>
            </a:p>
          </p:txBody>
        </p:sp>
        <p:grpSp>
          <p:nvGrpSpPr>
            <p:cNvPr id="98" name="bcgIcons_Moving forward">
              <a:extLst>
                <a:ext uri="{FF2B5EF4-FFF2-40B4-BE49-F238E27FC236}">
                  <a16:creationId xmlns:a16="http://schemas.microsoft.com/office/drawing/2014/main" id="{E9F5A1B0-35BD-49BD-A9E9-2D452766CBEE}"/>
                </a:ext>
              </a:extLst>
            </p:cNvPr>
            <p:cNvGrpSpPr>
              <a:grpSpLocks noChangeAspect="1"/>
            </p:cNvGrpSpPr>
            <p:nvPr/>
          </p:nvGrpSpPr>
          <p:grpSpPr>
            <a:xfrm>
              <a:off x="6620118" y="2424786"/>
              <a:ext cx="151913" cy="151913"/>
              <a:chOff x="5273040" y="2606040"/>
              <a:chExt cx="1645920" cy="1645920"/>
            </a:xfrm>
          </p:grpSpPr>
          <p:sp>
            <p:nvSpPr>
              <p:cNvPr id="99" name="AutoShape 10">
                <a:extLst>
                  <a:ext uri="{FF2B5EF4-FFF2-40B4-BE49-F238E27FC236}">
                    <a16:creationId xmlns:a16="http://schemas.microsoft.com/office/drawing/2014/main" id="{B740ED89-F414-47FF-B647-94AEFD44117E}"/>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100" name="Group 99">
                <a:extLst>
                  <a:ext uri="{FF2B5EF4-FFF2-40B4-BE49-F238E27FC236}">
                    <a16:creationId xmlns:a16="http://schemas.microsoft.com/office/drawing/2014/main" id="{FF93E456-C795-4813-BFBB-390E58C8F721}"/>
                  </a:ext>
                </a:extLst>
              </p:cNvPr>
              <p:cNvGrpSpPr/>
              <p:nvPr/>
            </p:nvGrpSpPr>
            <p:grpSpPr>
              <a:xfrm>
                <a:off x="5493600" y="3042286"/>
                <a:ext cx="1205866" cy="773430"/>
                <a:chOff x="5493600" y="3042286"/>
                <a:chExt cx="1205866" cy="773430"/>
              </a:xfrm>
            </p:grpSpPr>
            <p:sp>
              <p:nvSpPr>
                <p:cNvPr id="101" name="AutoShape 12">
                  <a:extLst>
                    <a:ext uri="{FF2B5EF4-FFF2-40B4-BE49-F238E27FC236}">
                      <a16:creationId xmlns:a16="http://schemas.microsoft.com/office/drawing/2014/main" id="{FD1B3BAB-2F46-4333-B49F-0EEE46A98577}"/>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102" name="Group 101">
                  <a:extLst>
                    <a:ext uri="{FF2B5EF4-FFF2-40B4-BE49-F238E27FC236}">
                      <a16:creationId xmlns:a16="http://schemas.microsoft.com/office/drawing/2014/main" id="{4DE1F190-2080-4A28-815C-021F9866748B}"/>
                    </a:ext>
                  </a:extLst>
                </p:cNvPr>
                <p:cNvGrpSpPr/>
                <p:nvPr/>
              </p:nvGrpSpPr>
              <p:grpSpPr>
                <a:xfrm>
                  <a:off x="5493600" y="3042286"/>
                  <a:ext cx="1205866" cy="773430"/>
                  <a:chOff x="5493600" y="3042286"/>
                  <a:chExt cx="1205866" cy="773430"/>
                </a:xfrm>
              </p:grpSpPr>
              <p:sp>
                <p:nvSpPr>
                  <p:cNvPr id="117" name="Freeform 14">
                    <a:extLst>
                      <a:ext uri="{FF2B5EF4-FFF2-40B4-BE49-F238E27FC236}">
                        <a16:creationId xmlns:a16="http://schemas.microsoft.com/office/drawing/2014/main" id="{19144966-B0CB-412E-A07F-613D8A115650}"/>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rgbClr val="145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118" name="Freeform 15">
                    <a:extLst>
                      <a:ext uri="{FF2B5EF4-FFF2-40B4-BE49-F238E27FC236}">
                        <a16:creationId xmlns:a16="http://schemas.microsoft.com/office/drawing/2014/main" id="{256DD422-3A8F-46D5-971A-D5019E88CF2F}"/>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rgbClr val="0B2D3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grpSp>
      </p:grpSp>
      <p:sp>
        <p:nvSpPr>
          <p:cNvPr id="2" name="Title 1">
            <a:extLst>
              <a:ext uri="{FF2B5EF4-FFF2-40B4-BE49-F238E27FC236}">
                <a16:creationId xmlns:a16="http://schemas.microsoft.com/office/drawing/2014/main" id="{124BE4EA-1ACD-DFED-6B83-97A43CF6305D}"/>
              </a:ext>
            </a:extLst>
          </p:cNvPr>
          <p:cNvSpPr>
            <a:spLocks noGrp="1"/>
          </p:cNvSpPr>
          <p:nvPr>
            <p:ph type="title"/>
          </p:nvPr>
        </p:nvSpPr>
        <p:spPr>
          <a:xfrm>
            <a:off x="628650" y="240408"/>
            <a:ext cx="9156794" cy="716335"/>
          </a:xfrm>
        </p:spPr>
        <p:txBody>
          <a:bodyPr vert="horz"/>
          <a:lstStyle/>
          <a:p>
            <a:r>
              <a:rPr lang="en-GB" dirty="0">
                <a:solidFill>
                  <a:srgbClr val="10C4C8"/>
                </a:solidFill>
              </a:rPr>
              <a:t>ACCOUNTABILITY | </a:t>
            </a:r>
            <a:r>
              <a:rPr lang="en-US" dirty="0"/>
              <a:t>Context influences priorities and therefore policy design</a:t>
            </a:r>
          </a:p>
        </p:txBody>
      </p:sp>
      <p:cxnSp>
        <p:nvCxnSpPr>
          <p:cNvPr id="12" name="Straight Connector 11">
            <a:extLst>
              <a:ext uri="{FF2B5EF4-FFF2-40B4-BE49-F238E27FC236}">
                <a16:creationId xmlns:a16="http://schemas.microsoft.com/office/drawing/2014/main" id="{35B44D82-34C2-47C2-49B6-571C308FEEB2}"/>
              </a:ext>
            </a:extLst>
          </p:cNvPr>
          <p:cNvCxnSpPr/>
          <p:nvPr/>
        </p:nvCxnSpPr>
        <p:spPr>
          <a:xfrm>
            <a:off x="1828798" y="5300242"/>
            <a:ext cx="4817644" cy="0"/>
          </a:xfrm>
          <a:prstGeom prst="line">
            <a:avLst/>
          </a:prstGeom>
          <a:ln w="9525" cap="rnd" cmpd="sng" algn="ctr">
            <a:solidFill>
              <a:srgbClr val="1451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5F0301-BCD5-B4A6-BF06-0D24F5A3053E}"/>
              </a:ext>
            </a:extLst>
          </p:cNvPr>
          <p:cNvSpPr txBox="1"/>
          <p:nvPr/>
        </p:nvSpPr>
        <p:spPr>
          <a:xfrm>
            <a:off x="6838547" y="5327532"/>
            <a:ext cx="4817643"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Aims emphasise </a:t>
            </a:r>
            <a:r>
              <a:rPr kumimoji="0" lang="en-GB" sz="1200" b="0" i="0" u="none" strike="noStrike" kern="1200" cap="none" spc="0" normalizeH="0" baseline="0" noProof="0" dirty="0">
                <a:ln>
                  <a:noFill/>
                </a:ln>
                <a:solidFill>
                  <a:srgbClr val="145164"/>
                </a:solidFill>
                <a:effectLst/>
                <a:uLnTx/>
                <a:uFillTx/>
                <a:latin typeface="Aptos"/>
                <a:ea typeface="+mn-ea"/>
                <a:cs typeface="+mn-cs"/>
              </a:rPr>
              <a:t>civic development and participation </a:t>
            </a:r>
          </a:p>
          <a:p>
            <a:pPr marL="324000" lvl="1" indent="-216000">
              <a:spcAft>
                <a:spcPts val="200"/>
              </a:spcAft>
              <a:buClr>
                <a:srgbClr val="145164"/>
              </a:buClr>
              <a:buFont typeface="Trebuchet MS" panose="020B0603020202020204" pitchFamily="34" charset="0"/>
              <a:buChar char="•"/>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Focus on </a:t>
            </a:r>
            <a:r>
              <a:rPr kumimoji="0" lang="en-GB" sz="1200" b="0" i="0" u="none" strike="noStrike" kern="1200" cap="none" spc="0" normalizeH="0" baseline="0" noProof="0" dirty="0">
                <a:ln>
                  <a:noFill/>
                </a:ln>
                <a:solidFill>
                  <a:srgbClr val="145164"/>
                </a:solidFill>
                <a:effectLst/>
                <a:uLnTx/>
                <a:uFillTx/>
                <a:latin typeface="Aptos"/>
                <a:ea typeface="+mn-ea"/>
                <a:cs typeface="+mn-cs"/>
              </a:rPr>
              <a:t>developing competencies that create added value </a:t>
            </a:r>
            <a:r>
              <a:rPr kumimoji="0" lang="en-GB" sz="1200" b="0" i="0" u="none" strike="noStrike" kern="1200" cap="none" spc="0" normalizeH="0" baseline="0" noProof="0" dirty="0">
                <a:ln>
                  <a:noFill/>
                </a:ln>
                <a:solidFill>
                  <a:srgbClr val="000000"/>
                </a:solidFill>
                <a:effectLst/>
                <a:uLnTx/>
                <a:uFillTx/>
                <a:latin typeface="Aptos"/>
                <a:ea typeface="+mn-ea"/>
                <a:cs typeface="+mn-cs"/>
              </a:rPr>
              <a:t>to society </a:t>
            </a:r>
            <a:r>
              <a:rPr lang="en-GB" sz="1200" dirty="0">
                <a:solidFill>
                  <a:srgbClr val="145164"/>
                </a:solidFill>
              </a:rPr>
              <a:t>align with national security </a:t>
            </a:r>
            <a:r>
              <a:rPr kumimoji="0" lang="en-GB" sz="1200" b="0" i="0" u="none" strike="noStrike" kern="1200" cap="none" spc="0" normalizeH="0" baseline="0" noProof="0" dirty="0">
                <a:ln>
                  <a:noFill/>
                </a:ln>
                <a:solidFill>
                  <a:srgbClr val="000000"/>
                </a:solidFill>
                <a:effectLst/>
                <a:uLnTx/>
                <a:uFillTx/>
                <a:latin typeface="Aptos"/>
                <a:ea typeface="+mn-ea"/>
                <a:cs typeface="+mn-cs"/>
              </a:rPr>
              <a:t>and provide </a:t>
            </a:r>
            <a:r>
              <a:rPr lang="en-GB" sz="1200" dirty="0">
                <a:solidFill>
                  <a:srgbClr val="145164"/>
                </a:solidFill>
              </a:rPr>
              <a:t>essential public services </a:t>
            </a:r>
            <a:r>
              <a:rPr kumimoji="0" lang="en-GB" sz="1200" b="0" i="0" u="none" strike="noStrike" kern="1200" cap="none" spc="0" normalizeH="0" baseline="0" noProof="0" dirty="0">
                <a:ln>
                  <a:noFill/>
                </a:ln>
                <a:solidFill>
                  <a:srgbClr val="000000"/>
                </a:solidFill>
                <a:effectLst/>
                <a:uLnTx/>
                <a:uFillTx/>
                <a:latin typeface="Aptos"/>
                <a:ea typeface="+mn-ea"/>
                <a:cs typeface="+mn-cs"/>
              </a:rPr>
              <a:t>(e.g. teachers, health professionals, internal security staff, tech) </a:t>
            </a:r>
          </a:p>
          <a:p>
            <a:pPr marL="324000" lvl="1" indent="-216000">
              <a:spcAft>
                <a:spcPts val="200"/>
              </a:spcAft>
              <a:buClr>
                <a:srgbClr val="145164"/>
              </a:buClr>
              <a:buFont typeface="Trebuchet MS" panose="020B0603020202020204" pitchFamily="34" charset="0"/>
              <a:buChar char="•"/>
              <a:defRPr/>
            </a:pPr>
            <a:r>
              <a:rPr lang="en-GB" sz="1200" dirty="0">
                <a:solidFill>
                  <a:srgbClr val="000000"/>
                </a:solidFill>
                <a:latin typeface="Aptos"/>
              </a:rPr>
              <a:t>New compliance requirements around </a:t>
            </a:r>
            <a:r>
              <a:rPr lang="en-GB" sz="1200" dirty="0">
                <a:solidFill>
                  <a:srgbClr val="145164"/>
                </a:solidFill>
              </a:rPr>
              <a:t>teaching in Estonian</a:t>
            </a:r>
            <a:endParaRPr kumimoji="0" lang="en-US" sz="1200" b="0" i="0" u="none" strike="noStrike" kern="1200" cap="none" spc="0" normalizeH="0" baseline="0" noProof="0" dirty="0">
              <a:ln>
                <a:noFill/>
              </a:ln>
              <a:solidFill>
                <a:srgbClr val="000000"/>
              </a:solidFill>
              <a:effectLst/>
              <a:uLnTx/>
              <a:uFillTx/>
              <a:latin typeface="Aptos"/>
              <a:ea typeface="+mn-ea"/>
              <a:cs typeface="+mn-cs"/>
            </a:endParaRPr>
          </a:p>
        </p:txBody>
      </p:sp>
      <p:sp>
        <p:nvSpPr>
          <p:cNvPr id="13" name="TextBox 12">
            <a:extLst>
              <a:ext uri="{FF2B5EF4-FFF2-40B4-BE49-F238E27FC236}">
                <a16:creationId xmlns:a16="http://schemas.microsoft.com/office/drawing/2014/main" id="{047DB82E-816F-8682-2177-943AE907397D}"/>
              </a:ext>
            </a:extLst>
          </p:cNvPr>
          <p:cNvSpPr txBox="1"/>
          <p:nvPr/>
        </p:nvSpPr>
        <p:spPr>
          <a:xfrm>
            <a:off x="1828798" y="5327532"/>
            <a:ext cx="4724802" cy="1184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i="0" u="none" strike="noStrike" kern="1200" cap="none" spc="0" normalizeH="0" baseline="0" noProof="0" dirty="0">
                <a:ln>
                  <a:noFill/>
                </a:ln>
                <a:solidFill>
                  <a:schemeClr val="accent1">
                    <a:lumMod val="90000"/>
                    <a:lumOff val="10000"/>
                  </a:schemeClr>
                </a:solidFill>
                <a:effectLst/>
                <a:uLnTx/>
                <a:uFillTx/>
                <a:latin typeface="Aptos"/>
                <a:ea typeface="+mn-ea"/>
                <a:cs typeface="+mn-cs"/>
              </a:rPr>
              <a:t>Post-Soviet independence </a:t>
            </a:r>
            <a:r>
              <a:rPr kumimoji="0" lang="en-GB" sz="1200" b="0" i="0" u="none" strike="noStrike" kern="1200" cap="none" spc="0" normalizeH="0" baseline="0" noProof="0" dirty="0">
                <a:ln>
                  <a:noFill/>
                </a:ln>
                <a:solidFill>
                  <a:srgbClr val="000000"/>
                </a:solidFill>
                <a:effectLst/>
                <a:uLnTx/>
                <a:uFillTx/>
                <a:latin typeface="Aptos"/>
                <a:ea typeface="+mn-ea"/>
                <a:cs typeface="+mn-cs"/>
              </a:rPr>
              <a:t>has driven a strong emphasis on </a:t>
            </a:r>
            <a:r>
              <a:rPr kumimoji="0" lang="en-GB" sz="1200" b="0" i="0" u="none" strike="noStrike" kern="1200" cap="none" spc="0" normalizeH="0" baseline="0" noProof="0" dirty="0">
                <a:ln>
                  <a:noFill/>
                </a:ln>
                <a:solidFill>
                  <a:schemeClr val="accent1">
                    <a:lumMod val="90000"/>
                    <a:lumOff val="10000"/>
                  </a:schemeClr>
                </a:solidFill>
                <a:effectLst/>
                <a:uLnTx/>
                <a:uFillTx/>
                <a:latin typeface="Aptos"/>
                <a:ea typeface="+mn-ea"/>
                <a:cs typeface="+mn-cs"/>
              </a:rPr>
              <a:t>state-building, transparency, and clear institutional authority</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lang="en-GB" sz="1200" dirty="0">
                <a:solidFill>
                  <a:srgbClr val="000000"/>
                </a:solidFill>
                <a:latin typeface="Aptos"/>
              </a:rPr>
              <a:t>Education plays a central role in nation-building through the </a:t>
            </a:r>
            <a:r>
              <a:rPr lang="en-GB" sz="1200" dirty="0">
                <a:solidFill>
                  <a:schemeClr val="accent1">
                    <a:lumMod val="90000"/>
                    <a:lumOff val="10000"/>
                  </a:schemeClr>
                </a:solidFill>
                <a:latin typeface="Aptos"/>
              </a:rPr>
              <a:t>consolidation of Estonian </a:t>
            </a:r>
            <a:r>
              <a:rPr lang="en-GB" sz="1200" dirty="0">
                <a:solidFill>
                  <a:srgbClr val="000000"/>
                </a:solidFill>
                <a:latin typeface="Aptos"/>
              </a:rPr>
              <a:t>as the language of instruction</a:t>
            </a:r>
          </a:p>
          <a:p>
            <a:pPr marL="324000" marR="0" lvl="1" indent="-216000" algn="l" defTabSz="914400" rtl="0" eaLnBrk="1" fontAlgn="auto" latinLnBrk="0" hangingPunct="1">
              <a:lnSpc>
                <a:spcPct val="100000"/>
              </a:lnSpc>
              <a:spcBef>
                <a:spcPts val="0"/>
              </a:spcBef>
              <a:spcAft>
                <a:spcPts val="200"/>
              </a:spcAft>
              <a:buClr>
                <a:srgbClr val="145164"/>
              </a:buClr>
              <a:buSzTx/>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ptos"/>
                <a:ea typeface="+mn-ea"/>
                <a:cs typeface="+mn-cs"/>
              </a:rPr>
              <a:t>Accountability mechanisms reflect the goal of </a:t>
            </a:r>
            <a:r>
              <a:rPr kumimoji="0" lang="en-GB" sz="1200" b="0" i="0" u="none" strike="noStrike" kern="1200" cap="none" spc="0" normalizeH="0" baseline="0" noProof="0" dirty="0">
                <a:ln>
                  <a:noFill/>
                </a:ln>
                <a:solidFill>
                  <a:schemeClr val="accent1">
                    <a:lumMod val="90000"/>
                    <a:lumOff val="10000"/>
                  </a:schemeClr>
                </a:solidFill>
                <a:effectLst/>
                <a:uLnTx/>
                <a:uFillTx/>
                <a:latin typeface="Aptos"/>
                <a:ea typeface="+mn-ea"/>
                <a:cs typeface="+mn-cs"/>
              </a:rPr>
              <a:t>integrating Russian-speaking minorities</a:t>
            </a:r>
            <a:r>
              <a:rPr kumimoji="0" lang="en-GB" sz="1200" b="0" i="0" u="none" strike="noStrike" kern="1200" cap="none" spc="0" normalizeH="0" baseline="0" noProof="0" dirty="0">
                <a:ln>
                  <a:noFill/>
                </a:ln>
                <a:solidFill>
                  <a:srgbClr val="000000"/>
                </a:solidFill>
                <a:effectLst/>
                <a:uLnTx/>
                <a:uFillTx/>
                <a:latin typeface="Aptos"/>
                <a:ea typeface="+mn-ea"/>
                <a:cs typeface="+mn-cs"/>
              </a:rPr>
              <a:t> while maintaining national standards</a:t>
            </a:r>
            <a:endParaRPr kumimoji="0" lang="en-US" sz="1200" b="0" i="0" u="none" strike="noStrike" kern="1200" cap="none" spc="0" normalizeH="0" baseline="0" noProof="0" dirty="0">
              <a:ln>
                <a:noFill/>
              </a:ln>
              <a:solidFill>
                <a:srgbClr val="000000"/>
              </a:solidFill>
              <a:effectLst/>
              <a:uLnTx/>
              <a:uFillTx/>
              <a:latin typeface="Aptos"/>
              <a:ea typeface="+mn-ea"/>
              <a:cs typeface="+mn-cs"/>
            </a:endParaRPr>
          </a:p>
        </p:txBody>
      </p:sp>
    </p:spTree>
    <p:extLst>
      <p:ext uri="{BB962C8B-B14F-4D97-AF65-F5344CB8AC3E}">
        <p14:creationId xmlns:p14="http://schemas.microsoft.com/office/powerpoint/2010/main" val="306606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A681E-2167-FAA6-058F-E0CF7CD1949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E9A45BE-829A-971A-E28A-5C4E3F9F56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11" name="think-cell data - do not delete" hidden="1">
                        <a:extLst>
                          <a:ext uri="{FF2B5EF4-FFF2-40B4-BE49-F238E27FC236}">
                            <a16:creationId xmlns:a16="http://schemas.microsoft.com/office/drawing/2014/main" id="{3E9A45BE-829A-971A-E28A-5C4E3F9F56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047C5AB5-97E4-0C27-7B19-6B5E0DD16D1C}"/>
              </a:ext>
            </a:extLst>
          </p:cNvPr>
          <p:cNvCxnSpPr>
            <a:cxnSpLocks/>
          </p:cNvCxnSpPr>
          <p:nvPr/>
        </p:nvCxnSpPr>
        <p:spPr>
          <a:xfrm>
            <a:off x="6696074" y="2160489"/>
            <a:ext cx="0" cy="1338735"/>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2D4D845-9502-18D8-3919-04A6E5EA22EE}"/>
              </a:ext>
            </a:extLst>
          </p:cNvPr>
          <p:cNvSpPr txBox="1"/>
          <p:nvPr/>
        </p:nvSpPr>
        <p:spPr>
          <a:xfrm>
            <a:off x="1828798" y="1400926"/>
            <a:ext cx="4724802" cy="582043"/>
          </a:xfrm>
          <a:prstGeom prst="round2SameRect">
            <a:avLst/>
          </a:prstGeom>
          <a:solidFill>
            <a:srgbClr val="14516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Context</a:t>
            </a:r>
          </a:p>
        </p:txBody>
      </p:sp>
      <p:sp>
        <p:nvSpPr>
          <p:cNvPr id="19" name="TextBox 18">
            <a:extLst>
              <a:ext uri="{FF2B5EF4-FFF2-40B4-BE49-F238E27FC236}">
                <a16:creationId xmlns:a16="http://schemas.microsoft.com/office/drawing/2014/main" id="{3DBA43EE-154E-3584-D378-DB2D84DC26AE}"/>
              </a:ext>
            </a:extLst>
          </p:cNvPr>
          <p:cNvSpPr txBox="1"/>
          <p:nvPr/>
        </p:nvSpPr>
        <p:spPr>
          <a:xfrm>
            <a:off x="6838548" y="1441870"/>
            <a:ext cx="4724802" cy="551874"/>
          </a:xfrm>
          <a:prstGeom prst="round2SameRect">
            <a:avLst/>
          </a:prstGeom>
          <a:solidFill>
            <a:srgbClr val="14516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ptos"/>
                <a:ea typeface="+mn-ea"/>
                <a:cs typeface="+mn-cs"/>
              </a:rPr>
              <a:t>Response to high stakes accountability</a:t>
            </a:r>
          </a:p>
        </p:txBody>
      </p:sp>
      <p:sp>
        <p:nvSpPr>
          <p:cNvPr id="23" name="TextBox 22">
            <a:extLst>
              <a:ext uri="{FF2B5EF4-FFF2-40B4-BE49-F238E27FC236}">
                <a16:creationId xmlns:a16="http://schemas.microsoft.com/office/drawing/2014/main" id="{038BB779-986E-8961-E125-0AD5385B8694}"/>
              </a:ext>
            </a:extLst>
          </p:cNvPr>
          <p:cNvSpPr txBox="1"/>
          <p:nvPr/>
        </p:nvSpPr>
        <p:spPr>
          <a:xfrm>
            <a:off x="7088933" y="2621245"/>
            <a:ext cx="4724802" cy="6495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Hyper-compliance combin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Constructive re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Iterative change</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p:txBody>
      </p:sp>
      <p:sp>
        <p:nvSpPr>
          <p:cNvPr id="59" name="TextBox 58">
            <a:extLst>
              <a:ext uri="{FF2B5EF4-FFF2-40B4-BE49-F238E27FC236}">
                <a16:creationId xmlns:a16="http://schemas.microsoft.com/office/drawing/2014/main" id="{93CFAA1B-5872-DB9E-C34A-6BD3EFA92C8C}"/>
              </a:ext>
            </a:extLst>
          </p:cNvPr>
          <p:cNvSpPr txBox="1"/>
          <p:nvPr/>
        </p:nvSpPr>
        <p:spPr>
          <a:xfrm>
            <a:off x="7113457" y="4094266"/>
            <a:ext cx="4724802" cy="8975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Eva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Dilution</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p:txBody>
      </p:sp>
      <p:cxnSp>
        <p:nvCxnSpPr>
          <p:cNvPr id="63" name="Straight Connector 62">
            <a:extLst>
              <a:ext uri="{FF2B5EF4-FFF2-40B4-BE49-F238E27FC236}">
                <a16:creationId xmlns:a16="http://schemas.microsoft.com/office/drawing/2014/main" id="{4CA65EA1-086B-7D47-B08F-1D0A5F1D47DF}"/>
              </a:ext>
            </a:extLst>
          </p:cNvPr>
          <p:cNvCxnSpPr/>
          <p:nvPr/>
        </p:nvCxnSpPr>
        <p:spPr>
          <a:xfrm>
            <a:off x="6696074" y="3880838"/>
            <a:ext cx="0" cy="1264003"/>
          </a:xfrm>
          <a:prstGeom prst="line">
            <a:avLst/>
          </a:prstGeom>
          <a:ln w="127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FB7455D-E0B1-3708-77C7-E425297D858E}"/>
              </a:ext>
            </a:extLst>
          </p:cNvPr>
          <p:cNvCxnSpPr/>
          <p:nvPr/>
        </p:nvCxnSpPr>
        <p:spPr>
          <a:xfrm>
            <a:off x="630000" y="3662736"/>
            <a:ext cx="1114818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79D22BF-12C7-1606-259C-DAA4FD8B8ED1}"/>
              </a:ext>
            </a:extLst>
          </p:cNvPr>
          <p:cNvCxnSpPr/>
          <p:nvPr/>
        </p:nvCxnSpPr>
        <p:spPr>
          <a:xfrm>
            <a:off x="630000" y="5417539"/>
            <a:ext cx="1114818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D6E64FA1-A98F-CDC7-4924-583501F764C5}"/>
              </a:ext>
            </a:extLst>
          </p:cNvPr>
          <p:cNvGrpSpPr/>
          <p:nvPr/>
        </p:nvGrpSpPr>
        <p:grpSpPr>
          <a:xfrm>
            <a:off x="6569074" y="2740222"/>
            <a:ext cx="254002" cy="254000"/>
            <a:chOff x="6588656" y="2393324"/>
            <a:chExt cx="214837" cy="214837"/>
          </a:xfrm>
        </p:grpSpPr>
        <p:sp>
          <p:nvSpPr>
            <p:cNvPr id="8" name="Oval 7">
              <a:extLst>
                <a:ext uri="{FF2B5EF4-FFF2-40B4-BE49-F238E27FC236}">
                  <a16:creationId xmlns:a16="http://schemas.microsoft.com/office/drawing/2014/main" id="{868FC7CC-EA3B-A4B7-DC80-43C6565E9B1E}"/>
                </a:ext>
              </a:extLst>
            </p:cNvPr>
            <p:cNvSpPr/>
            <p:nvPr>
              <p:custDataLst>
                <p:tags r:id="rId3"/>
              </p:custDataLst>
            </p:nvPr>
          </p:nvSpPr>
          <p:spPr>
            <a:xfrm>
              <a:off x="6588656" y="2393324"/>
              <a:ext cx="214837" cy="214837"/>
            </a:xfrm>
            <a:prstGeom prst="ellipse">
              <a:avLst/>
            </a:prstGeom>
            <a:solidFill>
              <a:srgbClr val="FFFFFF"/>
            </a:solidFill>
            <a:ln w="19050" cap="flat" cmpd="sng" algn="ctr">
              <a:solidFill>
                <a:srgbClr val="FFFFFF"/>
              </a:solid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ptos"/>
                <a:ea typeface="+mn-ea"/>
                <a:cs typeface="+mn-cs"/>
              </a:endParaRPr>
            </a:p>
          </p:txBody>
        </p:sp>
        <p:grpSp>
          <p:nvGrpSpPr>
            <p:cNvPr id="56" name="bcgIcons_Moving forward">
              <a:extLst>
                <a:ext uri="{FF2B5EF4-FFF2-40B4-BE49-F238E27FC236}">
                  <a16:creationId xmlns:a16="http://schemas.microsoft.com/office/drawing/2014/main" id="{0102084D-667E-D7F4-6D9A-7536BB23D7D0}"/>
                </a:ext>
              </a:extLst>
            </p:cNvPr>
            <p:cNvGrpSpPr>
              <a:grpSpLocks noChangeAspect="1"/>
            </p:cNvGrpSpPr>
            <p:nvPr/>
          </p:nvGrpSpPr>
          <p:grpSpPr>
            <a:xfrm>
              <a:off x="6620118" y="2424786"/>
              <a:ext cx="151913" cy="151913"/>
              <a:chOff x="5273040" y="2606040"/>
              <a:chExt cx="1645920" cy="1645920"/>
            </a:xfrm>
          </p:grpSpPr>
          <p:sp>
            <p:nvSpPr>
              <p:cNvPr id="57" name="AutoShape 10">
                <a:extLst>
                  <a:ext uri="{FF2B5EF4-FFF2-40B4-BE49-F238E27FC236}">
                    <a16:creationId xmlns:a16="http://schemas.microsoft.com/office/drawing/2014/main" id="{6B506BED-708A-82F2-EDCE-FCA9237A0BF5}"/>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71" name="Group 70">
                <a:extLst>
                  <a:ext uri="{FF2B5EF4-FFF2-40B4-BE49-F238E27FC236}">
                    <a16:creationId xmlns:a16="http://schemas.microsoft.com/office/drawing/2014/main" id="{828E936E-4992-F93B-4FBA-6BD850744826}"/>
                  </a:ext>
                </a:extLst>
              </p:cNvPr>
              <p:cNvGrpSpPr/>
              <p:nvPr/>
            </p:nvGrpSpPr>
            <p:grpSpPr>
              <a:xfrm>
                <a:off x="5493600" y="3042286"/>
                <a:ext cx="1205866" cy="773430"/>
                <a:chOff x="5493600" y="3042286"/>
                <a:chExt cx="1205866" cy="773430"/>
              </a:xfrm>
            </p:grpSpPr>
            <p:sp>
              <p:nvSpPr>
                <p:cNvPr id="72" name="AutoShape 12">
                  <a:extLst>
                    <a:ext uri="{FF2B5EF4-FFF2-40B4-BE49-F238E27FC236}">
                      <a16:creationId xmlns:a16="http://schemas.microsoft.com/office/drawing/2014/main" id="{23B5DD88-C85A-D84D-55E2-BF20B0861D36}"/>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73" name="Group 72">
                  <a:extLst>
                    <a:ext uri="{FF2B5EF4-FFF2-40B4-BE49-F238E27FC236}">
                      <a16:creationId xmlns:a16="http://schemas.microsoft.com/office/drawing/2014/main" id="{4FF2F60B-561F-A69A-8D6D-E7FDB079AF99}"/>
                    </a:ext>
                  </a:extLst>
                </p:cNvPr>
                <p:cNvGrpSpPr/>
                <p:nvPr/>
              </p:nvGrpSpPr>
              <p:grpSpPr>
                <a:xfrm>
                  <a:off x="5493600" y="3042286"/>
                  <a:ext cx="1205866" cy="773430"/>
                  <a:chOff x="5493600" y="3042286"/>
                  <a:chExt cx="1205866" cy="773430"/>
                </a:xfrm>
              </p:grpSpPr>
              <p:sp>
                <p:nvSpPr>
                  <p:cNvPr id="74" name="Freeform 14">
                    <a:extLst>
                      <a:ext uri="{FF2B5EF4-FFF2-40B4-BE49-F238E27FC236}">
                        <a16:creationId xmlns:a16="http://schemas.microsoft.com/office/drawing/2014/main" id="{4529E7E9-93DC-C043-1408-085FB2567994}"/>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rgbClr val="145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75" name="Freeform 15">
                    <a:extLst>
                      <a:ext uri="{FF2B5EF4-FFF2-40B4-BE49-F238E27FC236}">
                        <a16:creationId xmlns:a16="http://schemas.microsoft.com/office/drawing/2014/main" id="{F9F00775-EE58-DE92-587B-76D4722BE0A1}"/>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rgbClr val="0B2D3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grpSp>
      </p:grpSp>
      <p:grpSp>
        <p:nvGrpSpPr>
          <p:cNvPr id="24" name="Group 23">
            <a:extLst>
              <a:ext uri="{FF2B5EF4-FFF2-40B4-BE49-F238E27FC236}">
                <a16:creationId xmlns:a16="http://schemas.microsoft.com/office/drawing/2014/main" id="{527FEF53-675E-4F22-0E86-89BF9F076C57}"/>
              </a:ext>
            </a:extLst>
          </p:cNvPr>
          <p:cNvGrpSpPr/>
          <p:nvPr/>
        </p:nvGrpSpPr>
        <p:grpSpPr>
          <a:xfrm>
            <a:off x="657484" y="2539664"/>
            <a:ext cx="989742" cy="875272"/>
            <a:chOff x="630000" y="2012941"/>
            <a:chExt cx="989742" cy="875272"/>
          </a:xfrm>
        </p:grpSpPr>
        <p:sp>
          <p:nvSpPr>
            <p:cNvPr id="20" name="TextBox 19">
              <a:extLst>
                <a:ext uri="{FF2B5EF4-FFF2-40B4-BE49-F238E27FC236}">
                  <a16:creationId xmlns:a16="http://schemas.microsoft.com/office/drawing/2014/main" id="{D4BFB04A-9D7D-A6D6-6C26-A6975C626EE0}"/>
                </a:ext>
              </a:extLst>
            </p:cNvPr>
            <p:cNvSpPr txBox="1"/>
            <p:nvPr/>
          </p:nvSpPr>
          <p:spPr>
            <a:xfrm>
              <a:off x="630000" y="2672769"/>
              <a:ext cx="9897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5164"/>
                  </a:solidFill>
                  <a:effectLst/>
                  <a:uLnTx/>
                  <a:uFillTx/>
                  <a:latin typeface="Aptos"/>
                  <a:ea typeface="+mn-ea"/>
                  <a:cs typeface="+mn-cs"/>
                </a:rPr>
                <a:t>England</a:t>
              </a:r>
            </a:p>
          </p:txBody>
        </p:sp>
        <p:pic>
          <p:nvPicPr>
            <p:cNvPr id="5" name="flag_singapore">
              <a:extLst>
                <a:ext uri="{FF2B5EF4-FFF2-40B4-BE49-F238E27FC236}">
                  <a16:creationId xmlns:a16="http://schemas.microsoft.com/office/drawing/2014/main" id="{23984AF0-2A1A-023C-247D-D3868FD9D328}"/>
                </a:ext>
              </a:extLst>
            </p:cNvPr>
            <p:cNvPicPr>
              <a:picLocks noChangeAspect="1" noChangeArrowheads="1"/>
            </p:cNvPicPr>
            <p:nvPr/>
          </p:nvPicPr>
          <p:blipFill>
            <a:blip r:embed="rId8"/>
            <a:srcRect/>
            <a:stretch/>
          </p:blipFill>
          <p:spPr bwMode="auto">
            <a:xfrm>
              <a:off x="641306" y="2012941"/>
              <a:ext cx="967747" cy="659828"/>
            </a:xfrm>
            <a:prstGeom prst="rect">
              <a:avLst/>
            </a:prstGeom>
            <a:noFill/>
            <a:ln w="2222" cap="flat" cmpd="sng" algn="ctr">
              <a:solidFill>
                <a:schemeClr val="tx1"/>
              </a:solidFill>
              <a:prstDash val="solid"/>
              <a:round/>
              <a:headEnd type="none" w="med" len="med"/>
              <a:tailEnd type="none" w="med" len="med"/>
            </a:ln>
          </p:spPr>
        </p:pic>
      </p:grpSp>
      <p:grpSp>
        <p:nvGrpSpPr>
          <p:cNvPr id="78" name="Group 77">
            <a:extLst>
              <a:ext uri="{FF2B5EF4-FFF2-40B4-BE49-F238E27FC236}">
                <a16:creationId xmlns:a16="http://schemas.microsoft.com/office/drawing/2014/main" id="{1ED24968-36C3-B060-C7BC-E70D6C6D77F3}"/>
              </a:ext>
            </a:extLst>
          </p:cNvPr>
          <p:cNvGrpSpPr/>
          <p:nvPr/>
        </p:nvGrpSpPr>
        <p:grpSpPr>
          <a:xfrm>
            <a:off x="6569074" y="4385840"/>
            <a:ext cx="254002" cy="254000"/>
            <a:chOff x="6588656" y="2393324"/>
            <a:chExt cx="214837" cy="214837"/>
          </a:xfrm>
        </p:grpSpPr>
        <p:sp>
          <p:nvSpPr>
            <p:cNvPr id="79" name="Oval 78">
              <a:extLst>
                <a:ext uri="{FF2B5EF4-FFF2-40B4-BE49-F238E27FC236}">
                  <a16:creationId xmlns:a16="http://schemas.microsoft.com/office/drawing/2014/main" id="{3298991D-F8BC-9964-ED1C-C1BF49BFF9EE}"/>
                </a:ext>
              </a:extLst>
            </p:cNvPr>
            <p:cNvSpPr/>
            <p:nvPr>
              <p:custDataLst>
                <p:tags r:id="rId2"/>
              </p:custDataLst>
            </p:nvPr>
          </p:nvSpPr>
          <p:spPr>
            <a:xfrm>
              <a:off x="6588656" y="2393324"/>
              <a:ext cx="214837" cy="214837"/>
            </a:xfrm>
            <a:prstGeom prst="ellipse">
              <a:avLst/>
            </a:prstGeom>
            <a:solidFill>
              <a:srgbClr val="FFFFFF"/>
            </a:solidFill>
            <a:ln w="19050" cap="flat" cmpd="sng" algn="ctr">
              <a:solidFill>
                <a:srgbClr val="FFFFFF"/>
              </a:solidFill>
              <a:prstDash val="solid"/>
              <a:round/>
              <a:headEnd type="none" w="med" len="med"/>
              <a:tailEnd type="none" w="med" len="me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ptos"/>
                <a:ea typeface="+mn-ea"/>
                <a:cs typeface="+mn-cs"/>
              </a:endParaRPr>
            </a:p>
          </p:txBody>
        </p:sp>
        <p:grpSp>
          <p:nvGrpSpPr>
            <p:cNvPr id="80" name="bcgIcons_Moving forward">
              <a:extLst>
                <a:ext uri="{FF2B5EF4-FFF2-40B4-BE49-F238E27FC236}">
                  <a16:creationId xmlns:a16="http://schemas.microsoft.com/office/drawing/2014/main" id="{C42EC49A-4F6B-F8D7-A834-96BB3D5DAACC}"/>
                </a:ext>
              </a:extLst>
            </p:cNvPr>
            <p:cNvGrpSpPr>
              <a:grpSpLocks noChangeAspect="1"/>
            </p:cNvGrpSpPr>
            <p:nvPr/>
          </p:nvGrpSpPr>
          <p:grpSpPr>
            <a:xfrm>
              <a:off x="6620118" y="2424786"/>
              <a:ext cx="151913" cy="151913"/>
              <a:chOff x="5273040" y="2606040"/>
              <a:chExt cx="1645920" cy="1645920"/>
            </a:xfrm>
          </p:grpSpPr>
          <p:sp>
            <p:nvSpPr>
              <p:cNvPr id="82" name="AutoShape 10">
                <a:extLst>
                  <a:ext uri="{FF2B5EF4-FFF2-40B4-BE49-F238E27FC236}">
                    <a16:creationId xmlns:a16="http://schemas.microsoft.com/office/drawing/2014/main" id="{1C70A164-4662-0C3D-079E-B5575355F9E3}"/>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83" name="Group 82">
                <a:extLst>
                  <a:ext uri="{FF2B5EF4-FFF2-40B4-BE49-F238E27FC236}">
                    <a16:creationId xmlns:a16="http://schemas.microsoft.com/office/drawing/2014/main" id="{A450A3D2-0F4A-ACA9-1498-2E58D60D3D08}"/>
                  </a:ext>
                </a:extLst>
              </p:cNvPr>
              <p:cNvGrpSpPr/>
              <p:nvPr/>
            </p:nvGrpSpPr>
            <p:grpSpPr>
              <a:xfrm>
                <a:off x="5493600" y="3042286"/>
                <a:ext cx="1205866" cy="773430"/>
                <a:chOff x="5493600" y="3042286"/>
                <a:chExt cx="1205866" cy="773430"/>
              </a:xfrm>
            </p:grpSpPr>
            <p:sp>
              <p:nvSpPr>
                <p:cNvPr id="84" name="AutoShape 12">
                  <a:extLst>
                    <a:ext uri="{FF2B5EF4-FFF2-40B4-BE49-F238E27FC236}">
                      <a16:creationId xmlns:a16="http://schemas.microsoft.com/office/drawing/2014/main" id="{99782E40-7A2F-09E6-4E6F-B79D667667A7}"/>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nvGrpSpPr>
                <p:cNvPr id="93" name="Group 92">
                  <a:extLst>
                    <a:ext uri="{FF2B5EF4-FFF2-40B4-BE49-F238E27FC236}">
                      <a16:creationId xmlns:a16="http://schemas.microsoft.com/office/drawing/2014/main" id="{2B828B22-3E8B-53FE-3F32-CE862C44E51E}"/>
                    </a:ext>
                  </a:extLst>
                </p:cNvPr>
                <p:cNvGrpSpPr/>
                <p:nvPr/>
              </p:nvGrpSpPr>
              <p:grpSpPr>
                <a:xfrm>
                  <a:off x="5493600" y="3042286"/>
                  <a:ext cx="1205866" cy="773430"/>
                  <a:chOff x="5493600" y="3042286"/>
                  <a:chExt cx="1205866" cy="773430"/>
                </a:xfrm>
              </p:grpSpPr>
              <p:sp>
                <p:nvSpPr>
                  <p:cNvPr id="94" name="Freeform 14">
                    <a:extLst>
                      <a:ext uri="{FF2B5EF4-FFF2-40B4-BE49-F238E27FC236}">
                        <a16:creationId xmlns:a16="http://schemas.microsoft.com/office/drawing/2014/main" id="{AD8E907E-8A5E-63D9-2850-B01C8F7288C5}"/>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rgbClr val="145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sp>
                <p:nvSpPr>
                  <p:cNvPr id="95" name="Freeform 15">
                    <a:extLst>
                      <a:ext uri="{FF2B5EF4-FFF2-40B4-BE49-F238E27FC236}">
                        <a16:creationId xmlns:a16="http://schemas.microsoft.com/office/drawing/2014/main" id="{270EABC1-E8C1-FC98-D4D9-706017286936}"/>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rgbClr val="0B2D3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a:ea typeface="+mn-ea"/>
                      <a:cs typeface="+mn-cs"/>
                    </a:endParaRPr>
                  </a:p>
                </p:txBody>
              </p:sp>
            </p:grpSp>
          </p:grpSp>
        </p:grpSp>
      </p:grpSp>
      <p:sp>
        <p:nvSpPr>
          <p:cNvPr id="2" name="Title 1">
            <a:extLst>
              <a:ext uri="{FF2B5EF4-FFF2-40B4-BE49-F238E27FC236}">
                <a16:creationId xmlns:a16="http://schemas.microsoft.com/office/drawing/2014/main" id="{9467F0A4-B9EC-193D-788A-25EFCA1CCC97}"/>
              </a:ext>
            </a:extLst>
          </p:cNvPr>
          <p:cNvSpPr>
            <a:spLocks noGrp="1"/>
          </p:cNvSpPr>
          <p:nvPr>
            <p:ph type="title"/>
          </p:nvPr>
        </p:nvSpPr>
        <p:spPr>
          <a:xfrm>
            <a:off x="576745" y="316830"/>
            <a:ext cx="9156794" cy="716335"/>
          </a:xfrm>
        </p:spPr>
        <p:txBody>
          <a:bodyPr vert="horz"/>
          <a:lstStyle/>
          <a:p>
            <a:r>
              <a:rPr lang="en-GB" dirty="0">
                <a:solidFill>
                  <a:srgbClr val="10C4C8"/>
                </a:solidFill>
              </a:rPr>
              <a:t>ACCOUNTABILITY | </a:t>
            </a:r>
            <a:r>
              <a:rPr lang="en-US" dirty="0"/>
              <a:t>Context influences policy effects</a:t>
            </a:r>
          </a:p>
        </p:txBody>
      </p:sp>
      <p:sp>
        <p:nvSpPr>
          <p:cNvPr id="7" name="TextBox 6">
            <a:extLst>
              <a:ext uri="{FF2B5EF4-FFF2-40B4-BE49-F238E27FC236}">
                <a16:creationId xmlns:a16="http://schemas.microsoft.com/office/drawing/2014/main" id="{062195A7-55BD-7D5D-AFBD-F92077EF052C}"/>
              </a:ext>
            </a:extLst>
          </p:cNvPr>
          <p:cNvSpPr txBox="1"/>
          <p:nvPr/>
        </p:nvSpPr>
        <p:spPr>
          <a:xfrm>
            <a:off x="1685475" y="4085368"/>
            <a:ext cx="4724802" cy="8975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5164"/>
                </a:solidFill>
                <a:effectLst/>
                <a:uLnTx/>
                <a:uFillTx/>
                <a:latin typeface="Aptos"/>
                <a:ea typeface="+mn-ea"/>
                <a:cs typeface="+mn-cs"/>
              </a:rPr>
              <a:t>Republican tradi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Weakly embedded/</a:t>
            </a:r>
            <a:r>
              <a:rPr lang="en-US" sz="1400" b="1" dirty="0" err="1">
                <a:solidFill>
                  <a:srgbClr val="145164"/>
                </a:solidFill>
                <a:latin typeface="Aptos"/>
              </a:rPr>
              <a:t>instutionalised</a:t>
            </a:r>
            <a:r>
              <a:rPr lang="en-US" sz="1400" b="1" dirty="0">
                <a:solidFill>
                  <a:srgbClr val="145164"/>
                </a:solidFill>
                <a:latin typeface="Aptos"/>
              </a:rPr>
              <a:t> accountability</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p:txBody>
      </p:sp>
      <p:sp>
        <p:nvSpPr>
          <p:cNvPr id="10" name="TextBox 9">
            <a:extLst>
              <a:ext uri="{FF2B5EF4-FFF2-40B4-BE49-F238E27FC236}">
                <a16:creationId xmlns:a16="http://schemas.microsoft.com/office/drawing/2014/main" id="{B5AC4009-F978-33A4-DFC4-0FAF9FCB81EA}"/>
              </a:ext>
            </a:extLst>
          </p:cNvPr>
          <p:cNvSpPr txBox="1"/>
          <p:nvPr/>
        </p:nvSpPr>
        <p:spPr>
          <a:xfrm>
            <a:off x="1780772" y="2378764"/>
            <a:ext cx="4724802" cy="8975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Marketised/choice-based system</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145164"/>
                </a:solidFill>
                <a:latin typeface="Aptos"/>
              </a:rPr>
              <a:t>Deeply embedded/institutionalised accountability</a:t>
            </a:r>
            <a:endParaRPr kumimoji="0" lang="en-US" sz="1400" b="1" i="0" u="none" strike="noStrike" kern="1200" cap="none" spc="0" normalizeH="0" baseline="0" noProof="0" dirty="0">
              <a:ln>
                <a:noFill/>
              </a:ln>
              <a:solidFill>
                <a:srgbClr val="145164"/>
              </a:solidFill>
              <a:effectLst/>
              <a:uLnTx/>
              <a:uFillTx/>
              <a:latin typeface="Aptos"/>
              <a:ea typeface="+mn-ea"/>
              <a:cs typeface="+mn-cs"/>
            </a:endParaRPr>
          </a:p>
        </p:txBody>
      </p:sp>
      <p:pic>
        <p:nvPicPr>
          <p:cNvPr id="28" name="flag_france">
            <a:extLst>
              <a:ext uri="{FF2B5EF4-FFF2-40B4-BE49-F238E27FC236}">
                <a16:creationId xmlns:a16="http://schemas.microsoft.com/office/drawing/2014/main" id="{22C95C3F-093F-10EE-05FB-24D212F928A1}"/>
              </a:ext>
            </a:extLst>
          </p:cNvPr>
          <p:cNvPicPr>
            <a:picLocks noChangeAspect="1" noChangeArrowheads="1"/>
          </p:cNvPicPr>
          <p:nvPr/>
        </p:nvPicPr>
        <p:blipFill>
          <a:blip r:embed="rId9"/>
          <a:srcRect/>
          <a:stretch>
            <a:fillRect/>
          </a:stretch>
        </p:blipFill>
        <p:spPr bwMode="auto">
          <a:xfrm>
            <a:off x="781163" y="4252565"/>
            <a:ext cx="777311" cy="517884"/>
          </a:xfrm>
          <a:prstGeom prst="rect">
            <a:avLst/>
          </a:prstGeom>
          <a:noFill/>
          <a:ln w="3175">
            <a:noFill/>
          </a:ln>
        </p:spPr>
      </p:pic>
      <p:sp>
        <p:nvSpPr>
          <p:cNvPr id="31" name="TextBox 30">
            <a:extLst>
              <a:ext uri="{FF2B5EF4-FFF2-40B4-BE49-F238E27FC236}">
                <a16:creationId xmlns:a16="http://schemas.microsoft.com/office/drawing/2014/main" id="{22870198-1748-5598-61C7-C8BA62E16311}"/>
              </a:ext>
            </a:extLst>
          </p:cNvPr>
          <p:cNvSpPr txBox="1"/>
          <p:nvPr/>
        </p:nvSpPr>
        <p:spPr>
          <a:xfrm>
            <a:off x="781163" y="4800703"/>
            <a:ext cx="814507" cy="2424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en-US" sz="1400" dirty="0">
                <a:solidFill>
                  <a:srgbClr val="145164"/>
                </a:solidFill>
              </a:rPr>
              <a:t>France</a:t>
            </a:r>
          </a:p>
        </p:txBody>
      </p:sp>
    </p:spTree>
    <p:extLst>
      <p:ext uri="{BB962C8B-B14F-4D97-AF65-F5344CB8AC3E}">
        <p14:creationId xmlns:p14="http://schemas.microsoft.com/office/powerpoint/2010/main" val="3948463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B5CB0D9-BB2E-9497-022E-16AA61BF0453}"/>
              </a:ext>
            </a:extLst>
          </p:cNvPr>
          <p:cNvSpPr txBox="1">
            <a:spLocks/>
          </p:cNvSpPr>
          <p:nvPr/>
        </p:nvSpPr>
        <p:spPr>
          <a:xfrm>
            <a:off x="630000" y="252000"/>
            <a:ext cx="9100854" cy="625231"/>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a:lstStyle>
          <a:p>
            <a:r>
              <a:rPr lang="en-US" dirty="0">
                <a:solidFill>
                  <a:srgbClr val="10C4C8"/>
                </a:solidFill>
              </a:rPr>
              <a:t>SPECIAL EDUCATIONAL NEEDS | </a:t>
            </a:r>
            <a:r>
              <a:rPr lang="en-US" dirty="0"/>
              <a:t>Policy design typically reflects choices across four dimensions</a:t>
            </a:r>
          </a:p>
        </p:txBody>
      </p:sp>
      <p:sp>
        <p:nvSpPr>
          <p:cNvPr id="4" name="Right Triangle 38">
            <a:extLst>
              <a:ext uri="{FF2B5EF4-FFF2-40B4-BE49-F238E27FC236}">
                <a16:creationId xmlns:a16="http://schemas.microsoft.com/office/drawing/2014/main" id="{0A449679-CBA6-35C4-5460-51BBB29C165D}"/>
              </a:ext>
            </a:extLst>
          </p:cNvPr>
          <p:cNvSpPr>
            <a:spLocks/>
          </p:cNvSpPr>
          <p:nvPr/>
        </p:nvSpPr>
        <p:spPr>
          <a:xfrm rot="13368306">
            <a:off x="-828239" y="2667365"/>
            <a:ext cx="2983613" cy="3161963"/>
          </a:xfrm>
          <a:custGeom>
            <a:avLst/>
            <a:gdLst>
              <a:gd name="connsiteX0" fmla="*/ 0 w 3078084"/>
              <a:gd name="connsiteY0" fmla="*/ 3209574 h 3209574"/>
              <a:gd name="connsiteX1" fmla="*/ 0 w 3078084"/>
              <a:gd name="connsiteY1" fmla="*/ 0 h 3209574"/>
              <a:gd name="connsiteX2" fmla="*/ 3078084 w 3078084"/>
              <a:gd name="connsiteY2" fmla="*/ 3209574 h 3209574"/>
              <a:gd name="connsiteX3" fmla="*/ 0 w 3078084"/>
              <a:gd name="connsiteY3" fmla="*/ 3209574 h 3209574"/>
              <a:gd name="connsiteX0" fmla="*/ 8570 w 3086654"/>
              <a:gd name="connsiteY0" fmla="*/ 3349054 h 3349054"/>
              <a:gd name="connsiteX1" fmla="*/ 0 w 3086654"/>
              <a:gd name="connsiteY1" fmla="*/ 0 h 3349054"/>
              <a:gd name="connsiteX2" fmla="*/ 3086654 w 3086654"/>
              <a:gd name="connsiteY2" fmla="*/ 3349054 h 3349054"/>
              <a:gd name="connsiteX3" fmla="*/ 8570 w 3086654"/>
              <a:gd name="connsiteY3" fmla="*/ 3349054 h 3349054"/>
            </a:gdLst>
            <a:ahLst/>
            <a:cxnLst>
              <a:cxn ang="0">
                <a:pos x="connsiteX0" y="connsiteY0"/>
              </a:cxn>
              <a:cxn ang="0">
                <a:pos x="connsiteX1" y="connsiteY1"/>
              </a:cxn>
              <a:cxn ang="0">
                <a:pos x="connsiteX2" y="connsiteY2"/>
              </a:cxn>
              <a:cxn ang="0">
                <a:pos x="connsiteX3" y="connsiteY3"/>
              </a:cxn>
            </a:cxnLst>
            <a:rect l="l" t="t" r="r" b="b"/>
            <a:pathLst>
              <a:path w="3086654" h="3349054">
                <a:moveTo>
                  <a:pt x="8570" y="3349054"/>
                </a:moveTo>
                <a:cubicBezTo>
                  <a:pt x="5713" y="2232703"/>
                  <a:pt x="2857" y="1116351"/>
                  <a:pt x="0" y="0"/>
                </a:cubicBezTo>
                <a:lnTo>
                  <a:pt x="3086654" y="3349054"/>
                </a:lnTo>
                <a:lnTo>
                  <a:pt x="8570" y="3349054"/>
                </a:lnTo>
                <a:close/>
              </a:path>
            </a:pathLst>
          </a:custGeom>
          <a:solidFill>
            <a:srgbClr val="E9F5F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a:extLst>
              <a:ext uri="{FF2B5EF4-FFF2-40B4-BE49-F238E27FC236}">
                <a16:creationId xmlns:a16="http://schemas.microsoft.com/office/drawing/2014/main" id="{3DEC6A82-D5D1-73F8-A5B0-2990BECA4F03}"/>
              </a:ext>
            </a:extLst>
          </p:cNvPr>
          <p:cNvSpPr/>
          <p:nvPr/>
        </p:nvSpPr>
        <p:spPr>
          <a:xfrm>
            <a:off x="438902" y="2119686"/>
            <a:ext cx="4407694" cy="4266460"/>
          </a:xfrm>
          <a:prstGeom prst="rect">
            <a:avLst/>
          </a:prstGeom>
          <a:solidFill>
            <a:srgbClr val="F2F2F2">
              <a:alpha val="4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ight Triangle 5">
            <a:extLst>
              <a:ext uri="{FF2B5EF4-FFF2-40B4-BE49-F238E27FC236}">
                <a16:creationId xmlns:a16="http://schemas.microsoft.com/office/drawing/2014/main" id="{7142CDFF-0643-04F3-3E8E-72B18EE16344}"/>
              </a:ext>
            </a:extLst>
          </p:cNvPr>
          <p:cNvSpPr>
            <a:spLocks/>
          </p:cNvSpPr>
          <p:nvPr/>
        </p:nvSpPr>
        <p:spPr>
          <a:xfrm rot="8231694" flipH="1">
            <a:off x="3375777" y="2695027"/>
            <a:ext cx="2889208" cy="3155848"/>
          </a:xfrm>
          <a:prstGeom prst="rtTriangle">
            <a:avLst/>
          </a:prstGeom>
          <a:solidFill>
            <a:srgbClr val="E3F6F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ight Triangle 6">
            <a:extLst>
              <a:ext uri="{FF2B5EF4-FFF2-40B4-BE49-F238E27FC236}">
                <a16:creationId xmlns:a16="http://schemas.microsoft.com/office/drawing/2014/main" id="{5F39549B-A411-5ACB-0185-C16B034E37BD}"/>
              </a:ext>
            </a:extLst>
          </p:cNvPr>
          <p:cNvSpPr/>
          <p:nvPr/>
        </p:nvSpPr>
        <p:spPr>
          <a:xfrm rot="10800000" flipH="1">
            <a:off x="2694198" y="2085123"/>
            <a:ext cx="2133543" cy="3092672"/>
          </a:xfrm>
          <a:prstGeom prst="rtTriangle">
            <a:avLst/>
          </a:prstGeom>
          <a:solidFill>
            <a:srgbClr val="E3F6F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Isosceles Triangle 39">
            <a:extLst>
              <a:ext uri="{FF2B5EF4-FFF2-40B4-BE49-F238E27FC236}">
                <a16:creationId xmlns:a16="http://schemas.microsoft.com/office/drawing/2014/main" id="{06227765-DB10-E565-9B6A-25F6B2AD21EC}"/>
              </a:ext>
            </a:extLst>
          </p:cNvPr>
          <p:cNvSpPr/>
          <p:nvPr/>
        </p:nvSpPr>
        <p:spPr>
          <a:xfrm>
            <a:off x="618236" y="4224256"/>
            <a:ext cx="4190363" cy="2167451"/>
          </a:xfrm>
          <a:custGeom>
            <a:avLst/>
            <a:gdLst>
              <a:gd name="connsiteX0" fmla="*/ 0 w 4418272"/>
              <a:gd name="connsiteY0" fmla="*/ 1987350 h 1987350"/>
              <a:gd name="connsiteX1" fmla="*/ 1945851 w 4418272"/>
              <a:gd name="connsiteY1" fmla="*/ 0 h 1987350"/>
              <a:gd name="connsiteX2" fmla="*/ 4418272 w 4418272"/>
              <a:gd name="connsiteY2" fmla="*/ 1987350 h 1987350"/>
              <a:gd name="connsiteX3" fmla="*/ 0 w 4418272"/>
              <a:gd name="connsiteY3" fmla="*/ 1987350 h 1987350"/>
              <a:gd name="connsiteX0" fmla="*/ 0 w 4418272"/>
              <a:gd name="connsiteY0" fmla="*/ 1997183 h 1997183"/>
              <a:gd name="connsiteX1" fmla="*/ 2594780 w 4418272"/>
              <a:gd name="connsiteY1" fmla="*/ 0 h 1997183"/>
              <a:gd name="connsiteX2" fmla="*/ 4418272 w 4418272"/>
              <a:gd name="connsiteY2" fmla="*/ 1997183 h 1997183"/>
              <a:gd name="connsiteX3" fmla="*/ 0 w 4418272"/>
              <a:gd name="connsiteY3" fmla="*/ 1997183 h 1997183"/>
              <a:gd name="connsiteX0" fmla="*/ 0 w 4418272"/>
              <a:gd name="connsiteY0" fmla="*/ 2292151 h 2292151"/>
              <a:gd name="connsiteX1" fmla="*/ 2270315 w 4418272"/>
              <a:gd name="connsiteY1" fmla="*/ 0 h 2292151"/>
              <a:gd name="connsiteX2" fmla="*/ 4418272 w 4418272"/>
              <a:gd name="connsiteY2" fmla="*/ 2292151 h 2292151"/>
              <a:gd name="connsiteX3" fmla="*/ 0 w 4418272"/>
              <a:gd name="connsiteY3" fmla="*/ 2292151 h 2292151"/>
              <a:gd name="connsiteX0" fmla="*/ 0 w 4447769"/>
              <a:gd name="connsiteY0" fmla="*/ 2292151 h 2292151"/>
              <a:gd name="connsiteX1" fmla="*/ 2270315 w 4447769"/>
              <a:gd name="connsiteY1" fmla="*/ 0 h 2292151"/>
              <a:gd name="connsiteX2" fmla="*/ 4447769 w 4447769"/>
              <a:gd name="connsiteY2" fmla="*/ 2272486 h 2292151"/>
              <a:gd name="connsiteX3" fmla="*/ 0 w 4447769"/>
              <a:gd name="connsiteY3" fmla="*/ 2292151 h 2292151"/>
            </a:gdLst>
            <a:ahLst/>
            <a:cxnLst>
              <a:cxn ang="0">
                <a:pos x="connsiteX0" y="connsiteY0"/>
              </a:cxn>
              <a:cxn ang="0">
                <a:pos x="connsiteX1" y="connsiteY1"/>
              </a:cxn>
              <a:cxn ang="0">
                <a:pos x="connsiteX2" y="connsiteY2"/>
              </a:cxn>
              <a:cxn ang="0">
                <a:pos x="connsiteX3" y="connsiteY3"/>
              </a:cxn>
            </a:cxnLst>
            <a:rect l="l" t="t" r="r" b="b"/>
            <a:pathLst>
              <a:path w="4447769" h="2292151">
                <a:moveTo>
                  <a:pt x="0" y="2292151"/>
                </a:moveTo>
                <a:lnTo>
                  <a:pt x="2270315" y="0"/>
                </a:lnTo>
                <a:lnTo>
                  <a:pt x="4447769" y="2272486"/>
                </a:lnTo>
                <a:lnTo>
                  <a:pt x="0" y="2292151"/>
                </a:lnTo>
                <a:close/>
              </a:path>
            </a:pathLst>
          </a:custGeom>
          <a:solidFill>
            <a:srgbClr val="E9F5F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ight Triangle 8">
            <a:extLst>
              <a:ext uri="{FF2B5EF4-FFF2-40B4-BE49-F238E27FC236}">
                <a16:creationId xmlns:a16="http://schemas.microsoft.com/office/drawing/2014/main" id="{079F2E77-D66C-BABA-CF00-B0D2EFAFFF45}"/>
              </a:ext>
            </a:extLst>
          </p:cNvPr>
          <p:cNvSpPr/>
          <p:nvPr/>
        </p:nvSpPr>
        <p:spPr>
          <a:xfrm rot="10800000">
            <a:off x="647178" y="2085124"/>
            <a:ext cx="2083650" cy="3178385"/>
          </a:xfrm>
          <a:prstGeom prst="rtTriangle">
            <a:avLst/>
          </a:prstGeom>
          <a:solidFill>
            <a:srgbClr val="E9F5F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ound Diagonal Corner Rectangle 31">
            <a:extLst>
              <a:ext uri="{FF2B5EF4-FFF2-40B4-BE49-F238E27FC236}">
                <a16:creationId xmlns:a16="http://schemas.microsoft.com/office/drawing/2014/main" id="{C34E1CD2-C370-FE39-28C5-8A56083C06EA}"/>
              </a:ext>
            </a:extLst>
          </p:cNvPr>
          <p:cNvSpPr/>
          <p:nvPr/>
        </p:nvSpPr>
        <p:spPr>
          <a:xfrm>
            <a:off x="7618680" y="1337948"/>
            <a:ext cx="4432999" cy="495132"/>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476" tIns="0" rIns="0" bIns="0" numCol="1" spcCol="0" rtlCol="0" fromWordArt="0" anchor="ctr" anchorCtr="0" forceAA="0" compatLnSpc="1">
            <a:prstTxWarp prst="textNoShape">
              <a:avLst/>
            </a:prstTxWarp>
            <a:noAutofit/>
          </a:bodyPr>
          <a:lstStyle/>
          <a:p>
            <a:pPr lvl="0" algn="ctr">
              <a:defRPr/>
            </a:pPr>
            <a:r>
              <a:rPr lang="en-US" sz="1400" dirty="0">
                <a:solidFill>
                  <a:srgbClr val="CCDE49"/>
                </a:solidFill>
              </a:rPr>
              <a:t>IMPLEMENTATION |  </a:t>
            </a:r>
            <a:r>
              <a:rPr lang="en-US" sz="1400" dirty="0">
                <a:solidFill>
                  <a:srgbClr val="FFFFFF"/>
                </a:solidFill>
              </a:rPr>
              <a:t>HOW IS POLICY IMPLEMENTED? </a:t>
            </a:r>
          </a:p>
        </p:txBody>
      </p:sp>
      <p:grpSp>
        <p:nvGrpSpPr>
          <p:cNvPr id="11" name="Group 10">
            <a:extLst>
              <a:ext uri="{FF2B5EF4-FFF2-40B4-BE49-F238E27FC236}">
                <a16:creationId xmlns:a16="http://schemas.microsoft.com/office/drawing/2014/main" id="{D8288C77-5D8A-12A1-D8DD-C714462F59E8}"/>
              </a:ext>
            </a:extLst>
          </p:cNvPr>
          <p:cNvGrpSpPr/>
          <p:nvPr/>
        </p:nvGrpSpPr>
        <p:grpSpPr>
          <a:xfrm>
            <a:off x="1393612" y="2699433"/>
            <a:ext cx="2764327" cy="3070745"/>
            <a:chOff x="1539623" y="2311645"/>
            <a:chExt cx="3123268" cy="3214074"/>
          </a:xfrm>
        </p:grpSpPr>
        <p:sp>
          <p:nvSpPr>
            <p:cNvPr id="12" name="Oval 11">
              <a:extLst>
                <a:ext uri="{FF2B5EF4-FFF2-40B4-BE49-F238E27FC236}">
                  <a16:creationId xmlns:a16="http://schemas.microsoft.com/office/drawing/2014/main" id="{654F398B-481C-1453-E279-ACB72036F849}"/>
                </a:ext>
              </a:extLst>
            </p:cNvPr>
            <p:cNvSpPr/>
            <p:nvPr/>
          </p:nvSpPr>
          <p:spPr>
            <a:xfrm>
              <a:off x="1539623" y="2311645"/>
              <a:ext cx="3123268" cy="3214074"/>
            </a:xfrm>
            <a:prstGeom prst="ellipse">
              <a:avLst/>
            </a:prstGeom>
            <a:solidFill>
              <a:schemeClr val="tx2">
                <a:alpha val="99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13" name="TextBox 13">
              <a:extLst>
                <a:ext uri="{FF2B5EF4-FFF2-40B4-BE49-F238E27FC236}">
                  <a16:creationId xmlns:a16="http://schemas.microsoft.com/office/drawing/2014/main" id="{18FF5BCF-9268-0FDA-ECC7-0DFFBFFDBE1F}"/>
                </a:ext>
              </a:extLst>
            </p:cNvPr>
            <p:cNvSpPr txBox="1"/>
            <p:nvPr/>
          </p:nvSpPr>
          <p:spPr>
            <a:xfrm>
              <a:off x="2634655" y="2384219"/>
              <a:ext cx="933204"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FFFFFF"/>
                  </a:solidFill>
                </a:rPr>
                <a:t>Decentralised</a:t>
              </a:r>
            </a:p>
          </p:txBody>
        </p:sp>
        <p:sp>
          <p:nvSpPr>
            <p:cNvPr id="14" name="Rounded Rectangle 32">
              <a:extLst>
                <a:ext uri="{FF2B5EF4-FFF2-40B4-BE49-F238E27FC236}">
                  <a16:creationId xmlns:a16="http://schemas.microsoft.com/office/drawing/2014/main" id="{BF28829C-923A-B3AB-72B0-6C15423DD588}"/>
                </a:ext>
              </a:extLst>
            </p:cNvPr>
            <p:cNvSpPr/>
            <p:nvPr/>
          </p:nvSpPr>
          <p:spPr bwMode="auto">
            <a:xfrm>
              <a:off x="2396295" y="2601028"/>
              <a:ext cx="1409923" cy="291153"/>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C8C8C8"/>
                  </a:solidFill>
                </a14:hiddenFill>
              </a:ex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145164"/>
                </a:buClr>
                <a:buSzTx/>
                <a:buFont typeface="Trebuchet MS" panose="020B0603020202020204" pitchFamily="34" charset="0"/>
                <a:buChar char="​"/>
                <a:tabLst/>
                <a:defRPr/>
              </a:pPr>
              <a:r>
                <a:rPr kumimoji="0" lang="en-US" sz="1200" b="0" i="1" u="none" strike="noStrike" kern="1200" cap="none" spc="0" normalizeH="0" baseline="0" noProof="0" dirty="0">
                  <a:ln>
                    <a:noFill/>
                  </a:ln>
                  <a:solidFill>
                    <a:srgbClr val="C8C8C8"/>
                  </a:solidFill>
                  <a:effectLst/>
                  <a:uLnTx/>
                  <a:uFillTx/>
                  <a:ea typeface="+mn-ea"/>
                  <a:cs typeface="+mn-cs"/>
                </a:rPr>
                <a:t>Ontario, Finland, Netherlands</a:t>
              </a:r>
            </a:p>
          </p:txBody>
        </p:sp>
      </p:grpSp>
      <p:grpSp>
        <p:nvGrpSpPr>
          <p:cNvPr id="15" name="Group 14">
            <a:extLst>
              <a:ext uri="{FF2B5EF4-FFF2-40B4-BE49-F238E27FC236}">
                <a16:creationId xmlns:a16="http://schemas.microsoft.com/office/drawing/2014/main" id="{AE17C571-4F2D-DF91-79E7-8FC9A7F5546F}"/>
              </a:ext>
            </a:extLst>
          </p:cNvPr>
          <p:cNvGrpSpPr/>
          <p:nvPr/>
        </p:nvGrpSpPr>
        <p:grpSpPr>
          <a:xfrm>
            <a:off x="1581647" y="3441647"/>
            <a:ext cx="2318203" cy="2281077"/>
            <a:chOff x="1873572" y="2946200"/>
            <a:chExt cx="2455369" cy="2529257"/>
          </a:xfrm>
        </p:grpSpPr>
        <p:sp>
          <p:nvSpPr>
            <p:cNvPr id="16" name="Oval 15">
              <a:extLst>
                <a:ext uri="{FF2B5EF4-FFF2-40B4-BE49-F238E27FC236}">
                  <a16:creationId xmlns:a16="http://schemas.microsoft.com/office/drawing/2014/main" id="{0F6D715E-BC21-2006-322C-F1C4398FCE9E}"/>
                </a:ext>
              </a:extLst>
            </p:cNvPr>
            <p:cNvSpPr/>
            <p:nvPr/>
          </p:nvSpPr>
          <p:spPr>
            <a:xfrm>
              <a:off x="1873572" y="2946200"/>
              <a:ext cx="2455369" cy="2529257"/>
            </a:xfrm>
            <a:prstGeom prst="ellipse">
              <a:avLst/>
            </a:prstGeom>
            <a:solidFill>
              <a:schemeClr val="tx2">
                <a:lumMod val="60000"/>
                <a:lumOff val="40000"/>
                <a:alpha val="99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17" name="TextBox 14">
              <a:extLst>
                <a:ext uri="{FF2B5EF4-FFF2-40B4-BE49-F238E27FC236}">
                  <a16:creationId xmlns:a16="http://schemas.microsoft.com/office/drawing/2014/main" id="{BA7D1B04-E168-D4CD-F7D6-F4C75EA1FB4A}"/>
                </a:ext>
              </a:extLst>
            </p:cNvPr>
            <p:cNvSpPr txBox="1"/>
            <p:nvPr/>
          </p:nvSpPr>
          <p:spPr>
            <a:xfrm>
              <a:off x="2881645" y="2948260"/>
              <a:ext cx="4392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Hybrid</a:t>
              </a:r>
            </a:p>
          </p:txBody>
        </p:sp>
        <p:sp>
          <p:nvSpPr>
            <p:cNvPr id="18" name="Rounded Rectangle 32">
              <a:extLst>
                <a:ext uri="{FF2B5EF4-FFF2-40B4-BE49-F238E27FC236}">
                  <a16:creationId xmlns:a16="http://schemas.microsoft.com/office/drawing/2014/main" id="{83BA2BEF-5E47-E294-6EC1-DEB1809F8F6B}"/>
                </a:ext>
              </a:extLst>
            </p:cNvPr>
            <p:cNvSpPr/>
            <p:nvPr/>
          </p:nvSpPr>
          <p:spPr bwMode="auto">
            <a:xfrm>
              <a:off x="2283189" y="3243671"/>
              <a:ext cx="1636136" cy="369332"/>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C8C8C8"/>
                  </a:solidFill>
                </a14:hiddenFill>
              </a:ex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vert="horz" wrap="square" lIns="0" tIns="0" rIns="0" bIns="0" numCol="1" anchor="ctr" anchorCtr="0" compatLnSpc="1">
              <a:prstTxWarp prst="textNoShape">
                <a:avLst/>
              </a:prstTxWarp>
              <a:spAutoFit/>
            </a:bodyPr>
            <a:lstStyle/>
            <a:p>
              <a:pPr lvl="0" algn="ctr">
                <a:buClr>
                  <a:srgbClr val="145164"/>
                </a:buClr>
                <a:buFont typeface="Trebuchet MS" panose="020B0603020202020204" pitchFamily="34" charset="0"/>
                <a:buChar char="​"/>
                <a:defRPr/>
              </a:pPr>
              <a:r>
                <a:rPr lang="en-US" sz="1200" i="1" dirty="0">
                  <a:solidFill>
                    <a:srgbClr val="145164"/>
                  </a:solidFill>
                </a:rPr>
                <a:t>Scotland, Wales, Japan, France, New Zealand </a:t>
              </a:r>
            </a:p>
          </p:txBody>
        </p:sp>
      </p:grpSp>
      <p:sp>
        <p:nvSpPr>
          <p:cNvPr id="19" name="Oval 18">
            <a:extLst>
              <a:ext uri="{FF2B5EF4-FFF2-40B4-BE49-F238E27FC236}">
                <a16:creationId xmlns:a16="http://schemas.microsoft.com/office/drawing/2014/main" id="{ADE1224C-9F85-177E-0B80-9C27CBD1B427}"/>
              </a:ext>
            </a:extLst>
          </p:cNvPr>
          <p:cNvSpPr/>
          <p:nvPr/>
        </p:nvSpPr>
        <p:spPr>
          <a:xfrm>
            <a:off x="1933717" y="4168304"/>
            <a:ext cx="1614065" cy="1499256"/>
          </a:xfrm>
          <a:prstGeom prst="ellipse">
            <a:avLst/>
          </a:prstGeom>
          <a:solidFill>
            <a:srgbClr val="96DCF8">
              <a:alpha val="99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20" name="TextBox 15">
            <a:extLst>
              <a:ext uri="{FF2B5EF4-FFF2-40B4-BE49-F238E27FC236}">
                <a16:creationId xmlns:a16="http://schemas.microsoft.com/office/drawing/2014/main" id="{B2038E4A-9B4D-E27D-E23B-73F227EEEE95}"/>
              </a:ext>
            </a:extLst>
          </p:cNvPr>
          <p:cNvSpPr txBox="1"/>
          <p:nvPr/>
        </p:nvSpPr>
        <p:spPr>
          <a:xfrm>
            <a:off x="2361507" y="4367754"/>
            <a:ext cx="758482" cy="174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Centralised </a:t>
            </a:r>
          </a:p>
        </p:txBody>
      </p:sp>
      <p:sp>
        <p:nvSpPr>
          <p:cNvPr id="21" name="Rounded Rectangle 32">
            <a:extLst>
              <a:ext uri="{FF2B5EF4-FFF2-40B4-BE49-F238E27FC236}">
                <a16:creationId xmlns:a16="http://schemas.microsoft.com/office/drawing/2014/main" id="{509045EE-0AFD-2B3F-FF0F-53AF986B6B97}"/>
              </a:ext>
            </a:extLst>
          </p:cNvPr>
          <p:cNvSpPr/>
          <p:nvPr/>
        </p:nvSpPr>
        <p:spPr bwMode="auto">
          <a:xfrm>
            <a:off x="2075169" y="4772407"/>
            <a:ext cx="1331159" cy="274888"/>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C8C8C8"/>
                </a:solidFill>
              </a14:hiddenFill>
            </a:ex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vert="horz" wrap="square" lIns="0" tIns="0" rIns="0" bIns="0" numCol="1" anchor="ctr" anchorCtr="0" compatLnSpc="1">
            <a:prstTxWarp prst="textNoShape">
              <a:avLst/>
            </a:prstTxWarp>
          </a:bodyPr>
          <a:lstStyle/>
          <a:p>
            <a:pPr lvl="0" algn="ctr">
              <a:buClr>
                <a:srgbClr val="145164"/>
              </a:buClr>
              <a:buFont typeface="Trebuchet MS" panose="020B0603020202020204" pitchFamily="34" charset="0"/>
              <a:buChar char="​"/>
              <a:defRPr/>
            </a:pPr>
            <a:r>
              <a:rPr lang="en-US" sz="1200" i="1" dirty="0">
                <a:solidFill>
                  <a:srgbClr val="145164"/>
                </a:solidFill>
              </a:rPr>
              <a:t>England, Singapore, Northern Ireland, Ireland, Estonia, Poland </a:t>
            </a:r>
          </a:p>
        </p:txBody>
      </p:sp>
      <p:sp>
        <p:nvSpPr>
          <p:cNvPr id="22" name="Oval 20">
            <a:extLst>
              <a:ext uri="{FF2B5EF4-FFF2-40B4-BE49-F238E27FC236}">
                <a16:creationId xmlns:a16="http://schemas.microsoft.com/office/drawing/2014/main" id="{2BD5E97B-8832-C811-D9E5-62621B06005D}"/>
              </a:ext>
            </a:extLst>
          </p:cNvPr>
          <p:cNvSpPr>
            <a:spLocks noChangeAspect="1" noChangeArrowheads="1"/>
          </p:cNvSpPr>
          <p:nvPr/>
        </p:nvSpPr>
        <p:spPr bwMode="auto">
          <a:xfrm>
            <a:off x="237747" y="1632537"/>
            <a:ext cx="173859" cy="173859"/>
          </a:xfrm>
          <a:prstGeom prst="ellipse">
            <a:avLst/>
          </a:prstGeom>
          <a:solidFill>
            <a:srgbClr val="9A9A9A">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23" name="Oval 20">
            <a:extLst>
              <a:ext uri="{FF2B5EF4-FFF2-40B4-BE49-F238E27FC236}">
                <a16:creationId xmlns:a16="http://schemas.microsoft.com/office/drawing/2014/main" id="{7BACED45-1AC9-6ACE-F291-628715B6C278}"/>
              </a:ext>
            </a:extLst>
          </p:cNvPr>
          <p:cNvSpPr>
            <a:spLocks noChangeAspect="1" noChangeArrowheads="1"/>
          </p:cNvSpPr>
          <p:nvPr/>
        </p:nvSpPr>
        <p:spPr bwMode="auto">
          <a:xfrm>
            <a:off x="237749" y="1412740"/>
            <a:ext cx="173859" cy="173859"/>
          </a:xfrm>
          <a:prstGeom prst="ellipse">
            <a:avLst/>
          </a:prstGeom>
          <a:solidFill>
            <a:srgbClr val="9A9A9A">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24" name="Oval 20">
            <a:extLst>
              <a:ext uri="{FF2B5EF4-FFF2-40B4-BE49-F238E27FC236}">
                <a16:creationId xmlns:a16="http://schemas.microsoft.com/office/drawing/2014/main" id="{5FBC4916-E6D2-7EED-FD0F-5161E8BD576D}"/>
              </a:ext>
            </a:extLst>
          </p:cNvPr>
          <p:cNvSpPr>
            <a:spLocks noChangeAspect="1" noChangeArrowheads="1"/>
          </p:cNvSpPr>
          <p:nvPr/>
        </p:nvSpPr>
        <p:spPr bwMode="auto">
          <a:xfrm>
            <a:off x="7344325" y="1529963"/>
            <a:ext cx="173859" cy="173859"/>
          </a:xfrm>
          <a:prstGeom prst="ellipse">
            <a:avLst/>
          </a:prstGeom>
          <a:solidFill>
            <a:srgbClr val="9A9A9A">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
        <p:nvSpPr>
          <p:cNvPr id="25" name="Rectangle 24">
            <a:extLst>
              <a:ext uri="{FF2B5EF4-FFF2-40B4-BE49-F238E27FC236}">
                <a16:creationId xmlns:a16="http://schemas.microsoft.com/office/drawing/2014/main" id="{D5260117-6AD7-691F-FC1D-3B162047DAAD}"/>
              </a:ext>
            </a:extLst>
          </p:cNvPr>
          <p:cNvSpPr/>
          <p:nvPr/>
        </p:nvSpPr>
        <p:spPr>
          <a:xfrm>
            <a:off x="7564090" y="4519635"/>
            <a:ext cx="4230258" cy="2057583"/>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26" name="Rectangle 25">
            <a:extLst>
              <a:ext uri="{FF2B5EF4-FFF2-40B4-BE49-F238E27FC236}">
                <a16:creationId xmlns:a16="http://schemas.microsoft.com/office/drawing/2014/main" id="{ECFA1092-3CDF-AE88-0C97-55690224F7C7}"/>
              </a:ext>
            </a:extLst>
          </p:cNvPr>
          <p:cNvSpPr/>
          <p:nvPr/>
        </p:nvSpPr>
        <p:spPr>
          <a:xfrm rot="5400000">
            <a:off x="9594980" y="2545462"/>
            <a:ext cx="389201" cy="4415013"/>
          </a:xfrm>
          <a:prstGeom prst="rect">
            <a:avLst/>
          </a:prstGeom>
          <a:solidFill>
            <a:srgbClr val="E3F6F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square" lIns="27432" tIns="0" rIns="27432"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Clr>
                <a:srgbClr val="FFFFFF"/>
              </a:buClr>
              <a:buSzPts val="1000"/>
              <a:buFont typeface="Aptos" panose="020B0004020202020204" pitchFamily="34" charset="0"/>
            </a:pPr>
            <a:r>
              <a:rPr lang="en-US" sz="1400" dirty="0">
                <a:solidFill>
                  <a:srgbClr val="145164"/>
                </a:solidFill>
                <a:latin typeface="Aptos"/>
                <a:cs typeface="Arial" panose="020B0604020202020204" pitchFamily="34" charset="0"/>
              </a:rPr>
              <a:t>FULL POLICY ROLLOUT </a:t>
            </a:r>
          </a:p>
        </p:txBody>
      </p:sp>
      <p:sp>
        <p:nvSpPr>
          <p:cNvPr id="27" name="Rectangle 26">
            <a:extLst>
              <a:ext uri="{FF2B5EF4-FFF2-40B4-BE49-F238E27FC236}">
                <a16:creationId xmlns:a16="http://schemas.microsoft.com/office/drawing/2014/main" id="{77065FC6-1E34-ECC0-30C7-AF238CA238F8}"/>
              </a:ext>
            </a:extLst>
          </p:cNvPr>
          <p:cNvSpPr/>
          <p:nvPr/>
        </p:nvSpPr>
        <p:spPr>
          <a:xfrm>
            <a:off x="7564090" y="2353923"/>
            <a:ext cx="4230258" cy="201441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28" name="Rectangle 27">
            <a:extLst>
              <a:ext uri="{FF2B5EF4-FFF2-40B4-BE49-F238E27FC236}">
                <a16:creationId xmlns:a16="http://schemas.microsoft.com/office/drawing/2014/main" id="{FFF1B891-2763-0A15-DAE7-C8957DA0C768}"/>
              </a:ext>
            </a:extLst>
          </p:cNvPr>
          <p:cNvSpPr/>
          <p:nvPr/>
        </p:nvSpPr>
        <p:spPr>
          <a:xfrm rot="5400000">
            <a:off x="9596607" y="203956"/>
            <a:ext cx="495132" cy="4415012"/>
          </a:xfrm>
          <a:prstGeom prst="rect">
            <a:avLst/>
          </a:prstGeom>
          <a:solidFill>
            <a:srgbClr val="E3F6F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square" lIns="27432" tIns="0" rIns="27432" bIns="9144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Clr>
                <a:srgbClr val="FFFFFF"/>
              </a:buClr>
              <a:buSzPts val="1000"/>
              <a:buFont typeface="Aptos" panose="020B0004020202020204" pitchFamily="34" charset="0"/>
            </a:pPr>
            <a:r>
              <a:rPr lang="en-US" sz="1400" dirty="0">
                <a:solidFill>
                  <a:srgbClr val="145164"/>
                </a:solidFill>
                <a:latin typeface="Aptos"/>
                <a:cs typeface="Arial" panose="020B0604020202020204" pitchFamily="34" charset="0"/>
              </a:rPr>
              <a:t>PHASED ROLLOUT</a:t>
            </a:r>
          </a:p>
        </p:txBody>
      </p:sp>
      <p:sp>
        <p:nvSpPr>
          <p:cNvPr id="29" name="TextBox 13">
            <a:extLst>
              <a:ext uri="{FF2B5EF4-FFF2-40B4-BE49-F238E27FC236}">
                <a16:creationId xmlns:a16="http://schemas.microsoft.com/office/drawing/2014/main" id="{F435702A-3C8F-7551-8CE8-D2AAA6E8D99D}"/>
              </a:ext>
            </a:extLst>
          </p:cNvPr>
          <p:cNvSpPr txBox="1"/>
          <p:nvPr/>
        </p:nvSpPr>
        <p:spPr>
          <a:xfrm>
            <a:off x="8400159" y="3856022"/>
            <a:ext cx="2558119" cy="174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i="1" dirty="0">
                <a:solidFill>
                  <a:srgbClr val="9A9A9A"/>
                </a:solidFill>
              </a:rPr>
              <a:t> Estonia &amp; Poland </a:t>
            </a:r>
          </a:p>
        </p:txBody>
      </p:sp>
      <p:sp>
        <p:nvSpPr>
          <p:cNvPr id="30" name="TextBox 13">
            <a:extLst>
              <a:ext uri="{FF2B5EF4-FFF2-40B4-BE49-F238E27FC236}">
                <a16:creationId xmlns:a16="http://schemas.microsoft.com/office/drawing/2014/main" id="{FC8BDB20-2899-20E5-90F3-540DAE4D5216}"/>
              </a:ext>
            </a:extLst>
          </p:cNvPr>
          <p:cNvSpPr txBox="1"/>
          <p:nvPr/>
        </p:nvSpPr>
        <p:spPr>
          <a:xfrm>
            <a:off x="8084238" y="6019211"/>
            <a:ext cx="3544811" cy="174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algn="ctr">
              <a:buSzPts val="1200"/>
              <a:defRPr sz="1200" i="1">
                <a:solidFill>
                  <a:srgbClr val="7F7F7F"/>
                </a:solidFill>
              </a:defRPr>
            </a:lvl1pPr>
          </a:lstStyle>
          <a:p>
            <a:r>
              <a:rPr lang="en-US" dirty="0"/>
              <a:t>New Zealand</a:t>
            </a:r>
          </a:p>
        </p:txBody>
      </p:sp>
      <p:cxnSp>
        <p:nvCxnSpPr>
          <p:cNvPr id="31" name="Straight Connector 30">
            <a:extLst>
              <a:ext uri="{FF2B5EF4-FFF2-40B4-BE49-F238E27FC236}">
                <a16:creationId xmlns:a16="http://schemas.microsoft.com/office/drawing/2014/main" id="{BF5C9CA5-A01A-9321-2715-F0C22DEC5672}"/>
              </a:ext>
            </a:extLst>
          </p:cNvPr>
          <p:cNvCxnSpPr>
            <a:cxnSpLocks/>
          </p:cNvCxnSpPr>
          <p:nvPr/>
        </p:nvCxnSpPr>
        <p:spPr>
          <a:xfrm flipH="1">
            <a:off x="2740749" y="2119686"/>
            <a:ext cx="1" cy="61596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414B6B-3600-D3E1-3830-A683367284A3}"/>
              </a:ext>
            </a:extLst>
          </p:cNvPr>
          <p:cNvCxnSpPr>
            <a:cxnSpLocks/>
            <a:stCxn id="12" idx="3"/>
            <a:endCxn id="8" idx="0"/>
          </p:cNvCxnSpPr>
          <p:nvPr/>
        </p:nvCxnSpPr>
        <p:spPr>
          <a:xfrm flipH="1">
            <a:off x="618236" y="5320478"/>
            <a:ext cx="1180202" cy="107122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01797C2-C15E-FCDE-E321-0A0CEEC68A94}"/>
              </a:ext>
            </a:extLst>
          </p:cNvPr>
          <p:cNvCxnSpPr>
            <a:cxnSpLocks/>
            <a:endCxn id="12" idx="5"/>
          </p:cNvCxnSpPr>
          <p:nvPr/>
        </p:nvCxnSpPr>
        <p:spPr>
          <a:xfrm flipH="1" flipV="1">
            <a:off x="3753113" y="5320478"/>
            <a:ext cx="1093484" cy="106566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7018938-7881-9941-68D1-B172926E6034}"/>
              </a:ext>
            </a:extLst>
          </p:cNvPr>
          <p:cNvSpPr txBox="1"/>
          <p:nvPr/>
        </p:nvSpPr>
        <p:spPr>
          <a:xfrm>
            <a:off x="3259472" y="2225749"/>
            <a:ext cx="1166770" cy="2521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145164"/>
                </a:solidFill>
              </a:rPr>
              <a:t>CIVIL SERVANTS</a:t>
            </a:r>
          </a:p>
        </p:txBody>
      </p:sp>
      <p:sp>
        <p:nvSpPr>
          <p:cNvPr id="35" name="TextBox 34">
            <a:extLst>
              <a:ext uri="{FF2B5EF4-FFF2-40B4-BE49-F238E27FC236}">
                <a16:creationId xmlns:a16="http://schemas.microsoft.com/office/drawing/2014/main" id="{868F3A4F-90C9-8637-3B57-2C5498F25E29}"/>
              </a:ext>
            </a:extLst>
          </p:cNvPr>
          <p:cNvSpPr txBox="1"/>
          <p:nvPr/>
        </p:nvSpPr>
        <p:spPr>
          <a:xfrm>
            <a:off x="1490867" y="5777564"/>
            <a:ext cx="2499765" cy="288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145164"/>
                </a:solidFill>
              </a:rPr>
              <a:t>NGOS/ADVOCACY GROUPS</a:t>
            </a:r>
          </a:p>
        </p:txBody>
      </p:sp>
      <p:sp>
        <p:nvSpPr>
          <p:cNvPr id="36" name="TextBox 13">
            <a:extLst>
              <a:ext uri="{FF2B5EF4-FFF2-40B4-BE49-F238E27FC236}">
                <a16:creationId xmlns:a16="http://schemas.microsoft.com/office/drawing/2014/main" id="{98785C58-5E72-F780-CA4C-F89615623C49}"/>
              </a:ext>
            </a:extLst>
          </p:cNvPr>
          <p:cNvSpPr txBox="1"/>
          <p:nvPr/>
        </p:nvSpPr>
        <p:spPr>
          <a:xfrm>
            <a:off x="3174749" y="2355174"/>
            <a:ext cx="1363512" cy="5448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i="1" dirty="0">
                <a:solidFill>
                  <a:srgbClr val="000000"/>
                </a:solidFill>
              </a:rPr>
              <a:t>Singapore, </a:t>
            </a:r>
          </a:p>
          <a:p>
            <a:pPr algn="ctr"/>
            <a:r>
              <a:rPr lang="en-US" sz="1200" i="1" dirty="0">
                <a:solidFill>
                  <a:srgbClr val="000000"/>
                </a:solidFill>
              </a:rPr>
              <a:t>Japan, Ontario </a:t>
            </a:r>
          </a:p>
        </p:txBody>
      </p:sp>
      <p:sp>
        <p:nvSpPr>
          <p:cNvPr id="37" name="TextBox 13">
            <a:extLst>
              <a:ext uri="{FF2B5EF4-FFF2-40B4-BE49-F238E27FC236}">
                <a16:creationId xmlns:a16="http://schemas.microsoft.com/office/drawing/2014/main" id="{25645989-9670-E640-CC8D-DA49FF0AB6BD}"/>
              </a:ext>
            </a:extLst>
          </p:cNvPr>
          <p:cNvSpPr txBox="1"/>
          <p:nvPr/>
        </p:nvSpPr>
        <p:spPr>
          <a:xfrm>
            <a:off x="1955880" y="6033975"/>
            <a:ext cx="1569738" cy="1846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i="1" dirty="0">
                <a:solidFill>
                  <a:srgbClr val="000000"/>
                </a:solidFill>
              </a:rPr>
              <a:t>Ontario</a:t>
            </a:r>
          </a:p>
        </p:txBody>
      </p:sp>
      <p:sp>
        <p:nvSpPr>
          <p:cNvPr id="38" name="TextBox 13">
            <a:extLst>
              <a:ext uri="{FF2B5EF4-FFF2-40B4-BE49-F238E27FC236}">
                <a16:creationId xmlns:a16="http://schemas.microsoft.com/office/drawing/2014/main" id="{289199E3-0B27-58C8-4698-56AA84C45440}"/>
              </a:ext>
            </a:extLst>
          </p:cNvPr>
          <p:cNvSpPr txBox="1"/>
          <p:nvPr/>
        </p:nvSpPr>
        <p:spPr>
          <a:xfrm>
            <a:off x="1048978" y="2396118"/>
            <a:ext cx="1143571" cy="5448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i="1" dirty="0">
                <a:solidFill>
                  <a:srgbClr val="000000"/>
                </a:solidFill>
              </a:rPr>
              <a:t> Estonia &amp; Poland </a:t>
            </a:r>
          </a:p>
        </p:txBody>
      </p:sp>
      <p:sp>
        <p:nvSpPr>
          <p:cNvPr id="39" name="TextBox 38">
            <a:extLst>
              <a:ext uri="{FF2B5EF4-FFF2-40B4-BE49-F238E27FC236}">
                <a16:creationId xmlns:a16="http://schemas.microsoft.com/office/drawing/2014/main" id="{880140B4-66C6-53BE-2984-5E3098DCFC86}"/>
              </a:ext>
            </a:extLst>
          </p:cNvPr>
          <p:cNvSpPr txBox="1"/>
          <p:nvPr/>
        </p:nvSpPr>
        <p:spPr>
          <a:xfrm>
            <a:off x="1176748" y="2243210"/>
            <a:ext cx="860737" cy="3345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145164"/>
                </a:solidFill>
              </a:rPr>
              <a:t>ACADEMICS</a:t>
            </a:r>
          </a:p>
        </p:txBody>
      </p:sp>
      <p:sp>
        <p:nvSpPr>
          <p:cNvPr id="40" name="Arrow: Chevron 39">
            <a:extLst>
              <a:ext uri="{FF2B5EF4-FFF2-40B4-BE49-F238E27FC236}">
                <a16:creationId xmlns:a16="http://schemas.microsoft.com/office/drawing/2014/main" id="{789DC352-7965-A9D3-E50D-26AC3C92EB80}"/>
              </a:ext>
            </a:extLst>
          </p:cNvPr>
          <p:cNvSpPr>
            <a:spLocks/>
          </p:cNvSpPr>
          <p:nvPr/>
        </p:nvSpPr>
        <p:spPr>
          <a:xfrm>
            <a:off x="7956544" y="3035760"/>
            <a:ext cx="1070496" cy="645191"/>
          </a:xfrm>
          <a:prstGeom prst="chevron">
            <a:avLst>
              <a:gd name="adj" fmla="val 11543"/>
            </a:avLst>
          </a:prstGeom>
          <a:solidFill>
            <a:srgbClr val="61CBF4"/>
          </a:solidFill>
          <a:ln w="4763" cap="rnd" cmpd="sng" algn="ctr">
            <a:noFill/>
            <a:prstDash val="solid"/>
            <a:round/>
            <a:headEnd type="none" w="med" len="med"/>
            <a:tailEnd type="none" w="med" len="med"/>
          </a:ln>
          <a:effectLst/>
          <a:extLst>
            <a:ext uri="{91240B29-F687-4F45-9708-019B960494DF}">
              <a14:hiddenLine xmlns:a14="http://schemas.microsoft.com/office/drawing/2010/main" w="4763"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1" name="Arrow: Chevron 40">
            <a:extLst>
              <a:ext uri="{FF2B5EF4-FFF2-40B4-BE49-F238E27FC236}">
                <a16:creationId xmlns:a16="http://schemas.microsoft.com/office/drawing/2014/main" id="{AF019613-4E50-D3A6-DCDC-5E6F08393463}"/>
              </a:ext>
            </a:extLst>
          </p:cNvPr>
          <p:cNvSpPr>
            <a:spLocks/>
          </p:cNvSpPr>
          <p:nvPr/>
        </p:nvSpPr>
        <p:spPr>
          <a:xfrm>
            <a:off x="9143974" y="3035760"/>
            <a:ext cx="1070496" cy="645191"/>
          </a:xfrm>
          <a:prstGeom prst="chevron">
            <a:avLst>
              <a:gd name="adj" fmla="val 11543"/>
            </a:avLst>
          </a:prstGeom>
          <a:solidFill>
            <a:srgbClr val="61CBF4"/>
          </a:solidFill>
          <a:ln w="4763" cap="rnd" cmpd="sng" algn="ctr">
            <a:noFill/>
            <a:prstDash val="solid"/>
            <a:round/>
            <a:headEnd type="none" w="med" len="med"/>
            <a:tailEnd type="none" w="med" len="med"/>
          </a:ln>
          <a:effectLst/>
          <a:extLst>
            <a:ext uri="{91240B29-F687-4F45-9708-019B960494DF}">
              <a14:hiddenLine xmlns:a14="http://schemas.microsoft.com/office/drawing/2010/main" w="4763"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2" name="Arrow: Chevron 41">
            <a:extLst>
              <a:ext uri="{FF2B5EF4-FFF2-40B4-BE49-F238E27FC236}">
                <a16:creationId xmlns:a16="http://schemas.microsoft.com/office/drawing/2014/main" id="{E2831DF6-29AC-0FC7-D0E0-643358FB84D8}"/>
              </a:ext>
            </a:extLst>
          </p:cNvPr>
          <p:cNvSpPr>
            <a:spLocks/>
          </p:cNvSpPr>
          <p:nvPr/>
        </p:nvSpPr>
        <p:spPr>
          <a:xfrm>
            <a:off x="10331404" y="3035760"/>
            <a:ext cx="1070496" cy="645191"/>
          </a:xfrm>
          <a:prstGeom prst="chevron">
            <a:avLst>
              <a:gd name="adj" fmla="val 11543"/>
            </a:avLst>
          </a:prstGeom>
          <a:solidFill>
            <a:srgbClr val="61CBF4"/>
          </a:solidFill>
          <a:ln w="4763" cap="rnd" cmpd="sng" algn="ctr">
            <a:noFill/>
            <a:prstDash val="solid"/>
            <a:round/>
            <a:headEnd type="none" w="med" len="med"/>
            <a:tailEnd type="none" w="med" len="med"/>
          </a:ln>
          <a:effectLst/>
          <a:extLst>
            <a:ext uri="{91240B29-F687-4F45-9708-019B960494DF}">
              <a14:hiddenLine xmlns:a14="http://schemas.microsoft.com/office/drawing/2010/main" w="4763"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3" name="Arrow: Chevron 42">
            <a:extLst>
              <a:ext uri="{FF2B5EF4-FFF2-40B4-BE49-F238E27FC236}">
                <a16:creationId xmlns:a16="http://schemas.microsoft.com/office/drawing/2014/main" id="{BF538F7B-7B5C-491C-B059-E0DC06F13F73}"/>
              </a:ext>
            </a:extLst>
          </p:cNvPr>
          <p:cNvSpPr/>
          <p:nvPr/>
        </p:nvSpPr>
        <p:spPr>
          <a:xfrm>
            <a:off x="7882629" y="3087869"/>
            <a:ext cx="1218326" cy="645191"/>
          </a:xfrm>
          <a:prstGeom prst="chevron">
            <a:avLst>
              <a:gd name="adj" fmla="val 11543"/>
            </a:avLst>
          </a:prstGeom>
          <a:solidFill>
            <a:schemeClr val="accent2">
              <a:lumMod val="50000"/>
            </a:schemeClr>
          </a:solidFill>
          <a:ln w="3334"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4" name="Arrow: Chevron 43">
            <a:extLst>
              <a:ext uri="{FF2B5EF4-FFF2-40B4-BE49-F238E27FC236}">
                <a16:creationId xmlns:a16="http://schemas.microsoft.com/office/drawing/2014/main" id="{C7E9A253-C1BD-04B4-3E3C-6BC99E55DA12}"/>
              </a:ext>
            </a:extLst>
          </p:cNvPr>
          <p:cNvSpPr/>
          <p:nvPr/>
        </p:nvSpPr>
        <p:spPr>
          <a:xfrm>
            <a:off x="9070060" y="3087869"/>
            <a:ext cx="1218326" cy="645191"/>
          </a:xfrm>
          <a:prstGeom prst="chevron">
            <a:avLst>
              <a:gd name="adj" fmla="val 11543"/>
            </a:avLst>
          </a:prstGeom>
          <a:solidFill>
            <a:schemeClr val="accent2">
              <a:lumMod val="50000"/>
            </a:schemeClr>
          </a:solidFill>
          <a:ln w="3334"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5" name="Arrow: Chevron 44">
            <a:extLst>
              <a:ext uri="{FF2B5EF4-FFF2-40B4-BE49-F238E27FC236}">
                <a16:creationId xmlns:a16="http://schemas.microsoft.com/office/drawing/2014/main" id="{27CC07BC-2AA2-212C-0850-4A84CB693954}"/>
              </a:ext>
            </a:extLst>
          </p:cNvPr>
          <p:cNvSpPr/>
          <p:nvPr/>
        </p:nvSpPr>
        <p:spPr>
          <a:xfrm>
            <a:off x="10257489" y="3087869"/>
            <a:ext cx="1218326" cy="645191"/>
          </a:xfrm>
          <a:prstGeom prst="chevron">
            <a:avLst>
              <a:gd name="adj" fmla="val 11543"/>
            </a:avLst>
          </a:prstGeom>
          <a:solidFill>
            <a:schemeClr val="accent2">
              <a:lumMod val="50000"/>
            </a:schemeClr>
          </a:solidFill>
          <a:ln w="3334"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6" name="Arrow: Chevron 45">
            <a:extLst>
              <a:ext uri="{FF2B5EF4-FFF2-40B4-BE49-F238E27FC236}">
                <a16:creationId xmlns:a16="http://schemas.microsoft.com/office/drawing/2014/main" id="{6275F3F3-ADF8-C3CE-A0B7-8CAEAE42D650}"/>
              </a:ext>
            </a:extLst>
          </p:cNvPr>
          <p:cNvSpPr>
            <a:spLocks/>
          </p:cNvSpPr>
          <p:nvPr/>
        </p:nvSpPr>
        <p:spPr>
          <a:xfrm>
            <a:off x="8147248" y="5235364"/>
            <a:ext cx="3418793" cy="639908"/>
          </a:xfrm>
          <a:prstGeom prst="chevron">
            <a:avLst>
              <a:gd name="adj" fmla="val 11543"/>
            </a:avLst>
          </a:prstGeom>
          <a:solidFill>
            <a:srgbClr val="61CBF4"/>
          </a:solidFill>
          <a:ln w="4763" cap="rnd" cmpd="sng" algn="ctr">
            <a:noFill/>
            <a:prstDash val="solid"/>
            <a:round/>
            <a:headEnd type="none" w="med" len="med"/>
            <a:tailEnd type="none" w="med" len="med"/>
          </a:ln>
          <a:effectLst/>
          <a:extLst>
            <a:ext uri="{91240B29-F687-4F45-9708-019B960494DF}">
              <a14:hiddenLine xmlns:a14="http://schemas.microsoft.com/office/drawing/2010/main" w="4763" cap="rnd" cmpd="sng" algn="ctr">
                <a:solidFill>
                  <a:srgbClr val="14516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7" name="Arrow: Chevron 46">
            <a:extLst>
              <a:ext uri="{FF2B5EF4-FFF2-40B4-BE49-F238E27FC236}">
                <a16:creationId xmlns:a16="http://schemas.microsoft.com/office/drawing/2014/main" id="{9652A5C2-FC6F-2BC0-226C-11F17B5FC3C5}"/>
              </a:ext>
            </a:extLst>
          </p:cNvPr>
          <p:cNvSpPr>
            <a:spLocks/>
          </p:cNvSpPr>
          <p:nvPr/>
        </p:nvSpPr>
        <p:spPr>
          <a:xfrm>
            <a:off x="8060051" y="5292758"/>
            <a:ext cx="3593187" cy="639908"/>
          </a:xfrm>
          <a:prstGeom prst="chevron">
            <a:avLst>
              <a:gd name="adj" fmla="val 11543"/>
            </a:avLst>
          </a:prstGeom>
          <a:solidFill>
            <a:schemeClr val="accent2">
              <a:lumMod val="50000"/>
            </a:schemeClr>
          </a:solidFill>
          <a:ln w="4763"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48" name="Rectangle 47">
            <a:extLst>
              <a:ext uri="{FF2B5EF4-FFF2-40B4-BE49-F238E27FC236}">
                <a16:creationId xmlns:a16="http://schemas.microsoft.com/office/drawing/2014/main" id="{F50C7A36-3F3F-82A7-700A-736E188FDE4B}"/>
              </a:ext>
            </a:extLst>
          </p:cNvPr>
          <p:cNvSpPr/>
          <p:nvPr/>
        </p:nvSpPr>
        <p:spPr>
          <a:xfrm>
            <a:off x="5387608" y="2146982"/>
            <a:ext cx="1726636" cy="426646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alpha val="40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ound Diagonal Corner Rectangle 31">
            <a:extLst>
              <a:ext uri="{FF2B5EF4-FFF2-40B4-BE49-F238E27FC236}">
                <a16:creationId xmlns:a16="http://schemas.microsoft.com/office/drawing/2014/main" id="{A16D7B8A-A9A2-3ADE-1ACC-A76D8E3EB9CC}"/>
              </a:ext>
            </a:extLst>
          </p:cNvPr>
          <p:cNvSpPr/>
          <p:nvPr/>
        </p:nvSpPr>
        <p:spPr>
          <a:xfrm>
            <a:off x="5387608" y="1388171"/>
            <a:ext cx="1726636" cy="458557"/>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476" tIns="0" rIns="0" bIns="0" numCol="1" spcCol="0" rtlCol="0" fromWordArt="0" anchor="ctr" anchorCtr="0" forceAA="0" compatLnSpc="1">
            <a:prstTxWarp prst="textNoShape">
              <a:avLst/>
            </a:prstTxWarp>
            <a:noAutofit/>
          </a:bodyPr>
          <a:lstStyle/>
          <a:p>
            <a:pPr algn="ctr">
              <a:lnSpc>
                <a:spcPct val="95000"/>
              </a:lnSpc>
            </a:pPr>
            <a:r>
              <a:rPr lang="en-US" sz="1400" i="1" dirty="0">
                <a:solidFill>
                  <a:srgbClr val="CCDE49"/>
                </a:solidFill>
              </a:rPr>
              <a:t>STAKEHOLDER ENGAGEMENT</a:t>
            </a:r>
            <a:endParaRPr lang="en-US" sz="1400" dirty="0">
              <a:solidFill>
                <a:srgbClr val="CCDE49"/>
              </a:solidFill>
            </a:endParaRPr>
          </a:p>
        </p:txBody>
      </p:sp>
      <p:sp>
        <p:nvSpPr>
          <p:cNvPr id="50" name="TextBox 49">
            <a:extLst>
              <a:ext uri="{FF2B5EF4-FFF2-40B4-BE49-F238E27FC236}">
                <a16:creationId xmlns:a16="http://schemas.microsoft.com/office/drawing/2014/main" id="{731B3292-13FA-094B-242A-3E32A5588AC9}"/>
              </a:ext>
            </a:extLst>
          </p:cNvPr>
          <p:cNvSpPr txBox="1"/>
          <p:nvPr/>
        </p:nvSpPr>
        <p:spPr>
          <a:xfrm>
            <a:off x="5412150" y="4639878"/>
            <a:ext cx="1726636" cy="1743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en-GB" sz="1200" b="1" dirty="0">
                <a:solidFill>
                  <a:srgbClr val="145164"/>
                </a:solidFill>
              </a:rPr>
              <a:t>Direct engagement </a:t>
            </a:r>
          </a:p>
        </p:txBody>
      </p:sp>
      <p:grpSp>
        <p:nvGrpSpPr>
          <p:cNvPr id="51" name="Group 50">
            <a:extLst>
              <a:ext uri="{FF2B5EF4-FFF2-40B4-BE49-F238E27FC236}">
                <a16:creationId xmlns:a16="http://schemas.microsoft.com/office/drawing/2014/main" id="{54F2B7E2-21F1-BFB0-00A5-E75A319B15E3}"/>
              </a:ext>
            </a:extLst>
          </p:cNvPr>
          <p:cNvGrpSpPr/>
          <p:nvPr/>
        </p:nvGrpSpPr>
        <p:grpSpPr>
          <a:xfrm>
            <a:off x="5387608" y="2250452"/>
            <a:ext cx="1726636" cy="1822316"/>
            <a:chOff x="5182274" y="1461421"/>
            <a:chExt cx="1828800" cy="1930141"/>
          </a:xfrm>
        </p:grpSpPr>
        <p:sp>
          <p:nvSpPr>
            <p:cNvPr id="52" name="TextBox 51">
              <a:extLst>
                <a:ext uri="{FF2B5EF4-FFF2-40B4-BE49-F238E27FC236}">
                  <a16:creationId xmlns:a16="http://schemas.microsoft.com/office/drawing/2014/main" id="{5054E262-5636-F6A8-AF71-AD0C293D01CC}"/>
                </a:ext>
              </a:extLst>
            </p:cNvPr>
            <p:cNvSpPr txBox="1"/>
            <p:nvPr/>
          </p:nvSpPr>
          <p:spPr>
            <a:xfrm>
              <a:off x="5182274" y="1461421"/>
              <a:ext cx="1828800" cy="184666"/>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rgbClr val="CAEEFB"/>
                  </a:solidFill>
                </a14:hiddenFill>
              </a:ext>
              <a:ext uri="{91240B29-F687-4F45-9708-019B960494DF}">
                <a14:hiddenLine xmlns:a14="http://schemas.microsoft.com/office/drawing/2010/main" w="9525" cap="rnd" cmpd="sng" algn="ctr">
                  <a:solidFill>
                    <a:schemeClr val="tx2"/>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en-GB" sz="1200" b="1" dirty="0">
                  <a:solidFill>
                    <a:srgbClr val="145164"/>
                  </a:solidFill>
                </a:rPr>
                <a:t>Engagement  with Representative bodies </a:t>
              </a:r>
            </a:p>
          </p:txBody>
        </p:sp>
        <p:grpSp>
          <p:nvGrpSpPr>
            <p:cNvPr id="53" name="Group 52">
              <a:extLst>
                <a:ext uri="{FF2B5EF4-FFF2-40B4-BE49-F238E27FC236}">
                  <a16:creationId xmlns:a16="http://schemas.microsoft.com/office/drawing/2014/main" id="{649A5A49-098F-984F-2CC2-EAB408F072F4}"/>
                </a:ext>
              </a:extLst>
            </p:cNvPr>
            <p:cNvGrpSpPr/>
            <p:nvPr/>
          </p:nvGrpSpPr>
          <p:grpSpPr>
            <a:xfrm>
              <a:off x="5227993" y="1755680"/>
              <a:ext cx="1737361" cy="1635882"/>
              <a:chOff x="7134073" y="2080049"/>
              <a:chExt cx="1737361" cy="1635882"/>
            </a:xfrm>
          </p:grpSpPr>
          <p:sp>
            <p:nvSpPr>
              <p:cNvPr id="54" name="Rounded Rectangle 28">
                <a:extLst>
                  <a:ext uri="{FF2B5EF4-FFF2-40B4-BE49-F238E27FC236}">
                    <a16:creationId xmlns:a16="http://schemas.microsoft.com/office/drawing/2014/main" id="{4011BDBD-C364-06AA-A388-35A4E5088F2C}"/>
                  </a:ext>
                </a:extLst>
              </p:cNvPr>
              <p:cNvSpPr/>
              <p:nvPr/>
            </p:nvSpPr>
            <p:spPr bwMode="auto">
              <a:xfrm>
                <a:off x="7134073" y="2080049"/>
                <a:ext cx="1737361" cy="1635882"/>
              </a:xfrm>
              <a:prstGeom prst="roundRect">
                <a:avLst>
                  <a:gd name="adj" fmla="val 5638"/>
                </a:avLst>
              </a:prstGeom>
              <a:solidFill>
                <a:srgbClr val="CAEEFB"/>
              </a:solidFill>
              <a:ln w="9525"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SzPts val="1200"/>
                </a:pPr>
                <a:endParaRPr lang="en-US" sz="1200" dirty="0">
                  <a:solidFill>
                    <a:srgbClr val="FFFFFF"/>
                  </a:solidFill>
                </a:endParaRPr>
              </a:p>
            </p:txBody>
          </p:sp>
          <p:grpSp>
            <p:nvGrpSpPr>
              <p:cNvPr id="55" name="Group 54">
                <a:extLst>
                  <a:ext uri="{FF2B5EF4-FFF2-40B4-BE49-F238E27FC236}">
                    <a16:creationId xmlns:a16="http://schemas.microsoft.com/office/drawing/2014/main" id="{787DEA95-F306-F3B8-837F-B45040B68324}"/>
                  </a:ext>
                </a:extLst>
              </p:cNvPr>
              <p:cNvGrpSpPr/>
              <p:nvPr/>
            </p:nvGrpSpPr>
            <p:grpSpPr>
              <a:xfrm>
                <a:off x="7224838" y="2113447"/>
                <a:ext cx="1555154" cy="1491147"/>
                <a:chOff x="7224839" y="2132542"/>
                <a:chExt cx="1555154" cy="1491147"/>
              </a:xfrm>
            </p:grpSpPr>
            <p:sp>
              <p:nvSpPr>
                <p:cNvPr id="56" name="Rounded Rectangle 32">
                  <a:extLst>
                    <a:ext uri="{FF2B5EF4-FFF2-40B4-BE49-F238E27FC236}">
                      <a16:creationId xmlns:a16="http://schemas.microsoft.com/office/drawing/2014/main" id="{7F6C8D85-26A7-75A7-B12E-DCA6240D2774}"/>
                    </a:ext>
                  </a:extLst>
                </p:cNvPr>
                <p:cNvSpPr/>
                <p:nvPr/>
              </p:nvSpPr>
              <p:spPr bwMode="auto">
                <a:xfrm>
                  <a:off x="7224839" y="2132542"/>
                  <a:ext cx="1554483" cy="174188"/>
                </a:xfrm>
                <a:prstGeom prst="roundRect">
                  <a:avLst>
                    <a:gd name="adj" fmla="val 5638"/>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812203" eaLnBrk="0" fontAlgn="base" hangingPunct="0">
                    <a:spcBef>
                      <a:spcPct val="50000"/>
                    </a:spcBef>
                    <a:spcAft>
                      <a:spcPct val="0"/>
                    </a:spcAft>
                  </a:pPr>
                  <a:r>
                    <a:rPr lang="en-US" sz="1100" b="1" dirty="0">
                      <a:solidFill>
                        <a:srgbClr val="000000"/>
                      </a:solidFill>
                    </a:rPr>
                    <a:t>Councils/Committees </a:t>
                  </a:r>
                </a:p>
              </p:txBody>
            </p:sp>
            <p:grpSp>
              <p:nvGrpSpPr>
                <p:cNvPr id="57" name="Group 56">
                  <a:extLst>
                    <a:ext uri="{FF2B5EF4-FFF2-40B4-BE49-F238E27FC236}">
                      <a16:creationId xmlns:a16="http://schemas.microsoft.com/office/drawing/2014/main" id="{C634E682-4791-2B17-154F-26C350BC1AC0}"/>
                    </a:ext>
                  </a:extLst>
                </p:cNvPr>
                <p:cNvGrpSpPr/>
                <p:nvPr/>
              </p:nvGrpSpPr>
              <p:grpSpPr>
                <a:xfrm>
                  <a:off x="7225513" y="2384669"/>
                  <a:ext cx="1554480" cy="1239020"/>
                  <a:chOff x="7225513" y="2384669"/>
                  <a:chExt cx="1554480" cy="1239020"/>
                </a:xfrm>
              </p:grpSpPr>
              <p:sp>
                <p:nvSpPr>
                  <p:cNvPr id="58" name="Rounded Rectangle 32">
                    <a:extLst>
                      <a:ext uri="{FF2B5EF4-FFF2-40B4-BE49-F238E27FC236}">
                        <a16:creationId xmlns:a16="http://schemas.microsoft.com/office/drawing/2014/main" id="{8A3C61A8-4965-F95F-059E-E59A0E21AC20}"/>
                      </a:ext>
                    </a:extLst>
                  </p:cNvPr>
                  <p:cNvSpPr/>
                  <p:nvPr/>
                </p:nvSpPr>
                <p:spPr bwMode="auto">
                  <a:xfrm>
                    <a:off x="7225513" y="2384669"/>
                    <a:ext cx="1554480" cy="365760"/>
                  </a:xfrm>
                  <a:prstGeom prst="roundRect">
                    <a:avLst>
                      <a:gd name="adj" fmla="val 5638"/>
                    </a:avLst>
                  </a:prstGeom>
                  <a:solidFill>
                    <a:srgbClr val="145164"/>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Parents </a:t>
                    </a:r>
                  </a:p>
                </p:txBody>
              </p:sp>
              <p:sp>
                <p:nvSpPr>
                  <p:cNvPr id="59" name="Rounded Rectangle 32">
                    <a:extLst>
                      <a:ext uri="{FF2B5EF4-FFF2-40B4-BE49-F238E27FC236}">
                        <a16:creationId xmlns:a16="http://schemas.microsoft.com/office/drawing/2014/main" id="{170BFF34-B0C7-1124-03AA-DA412D733E05}"/>
                      </a:ext>
                    </a:extLst>
                  </p:cNvPr>
                  <p:cNvSpPr/>
                  <p:nvPr/>
                </p:nvSpPr>
                <p:spPr bwMode="auto">
                  <a:xfrm>
                    <a:off x="7225513" y="2821299"/>
                    <a:ext cx="1554480" cy="365760"/>
                  </a:xfrm>
                  <a:prstGeom prst="roundRect">
                    <a:avLst>
                      <a:gd name="adj" fmla="val 5638"/>
                    </a:avLst>
                  </a:prstGeom>
                  <a:solidFill>
                    <a:srgbClr val="145164"/>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Children </a:t>
                    </a:r>
                  </a:p>
                </p:txBody>
              </p:sp>
              <p:sp>
                <p:nvSpPr>
                  <p:cNvPr id="60" name="Rounded Rectangle 32">
                    <a:extLst>
                      <a:ext uri="{FF2B5EF4-FFF2-40B4-BE49-F238E27FC236}">
                        <a16:creationId xmlns:a16="http://schemas.microsoft.com/office/drawing/2014/main" id="{E0FEC72A-C21A-B869-5DEF-464F4F1F7FF7}"/>
                      </a:ext>
                    </a:extLst>
                  </p:cNvPr>
                  <p:cNvSpPr/>
                  <p:nvPr/>
                </p:nvSpPr>
                <p:spPr bwMode="auto">
                  <a:xfrm>
                    <a:off x="7225513" y="3257929"/>
                    <a:ext cx="1554480" cy="365760"/>
                  </a:xfrm>
                  <a:prstGeom prst="roundRect">
                    <a:avLst>
                      <a:gd name="adj" fmla="val 5638"/>
                    </a:avLst>
                  </a:prstGeom>
                  <a:solidFill>
                    <a:srgbClr val="145164"/>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Communities </a:t>
                    </a:r>
                  </a:p>
                </p:txBody>
              </p:sp>
            </p:grpSp>
          </p:grpSp>
        </p:grpSp>
      </p:grpSp>
      <p:grpSp>
        <p:nvGrpSpPr>
          <p:cNvPr id="61" name="Group 60">
            <a:extLst>
              <a:ext uri="{FF2B5EF4-FFF2-40B4-BE49-F238E27FC236}">
                <a16:creationId xmlns:a16="http://schemas.microsoft.com/office/drawing/2014/main" id="{303BC75D-79D3-1A0D-59B2-25571E05952A}"/>
              </a:ext>
            </a:extLst>
          </p:cNvPr>
          <p:cNvGrpSpPr/>
          <p:nvPr/>
        </p:nvGrpSpPr>
        <p:grpSpPr>
          <a:xfrm>
            <a:off x="5517104" y="4860396"/>
            <a:ext cx="1467641" cy="1169804"/>
            <a:chOff x="7225513" y="2384669"/>
            <a:chExt cx="1554480" cy="1239020"/>
          </a:xfrm>
        </p:grpSpPr>
        <p:sp>
          <p:nvSpPr>
            <p:cNvPr id="62" name="Rounded Rectangle 32">
              <a:extLst>
                <a:ext uri="{FF2B5EF4-FFF2-40B4-BE49-F238E27FC236}">
                  <a16:creationId xmlns:a16="http://schemas.microsoft.com/office/drawing/2014/main" id="{16777CED-5838-55C6-A96A-7D60986F2B29}"/>
                </a:ext>
              </a:extLst>
            </p:cNvPr>
            <p:cNvSpPr/>
            <p:nvPr/>
          </p:nvSpPr>
          <p:spPr bwMode="auto">
            <a:xfrm>
              <a:off x="7225513" y="2384669"/>
              <a:ext cx="1554480" cy="365760"/>
            </a:xfrm>
            <a:prstGeom prst="roundRect">
              <a:avLst>
                <a:gd name="adj" fmla="val 5638"/>
              </a:avLst>
            </a:prstGeom>
            <a:solidFill>
              <a:srgbClr val="145164"/>
            </a:solidFill>
            <a:ln w="9525" cap="flat" cmpd="sng" algn="ctr">
              <a:solidFill>
                <a:srgbClr val="14516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Parents </a:t>
              </a:r>
            </a:p>
          </p:txBody>
        </p:sp>
        <p:sp>
          <p:nvSpPr>
            <p:cNvPr id="63" name="Rounded Rectangle 32">
              <a:extLst>
                <a:ext uri="{FF2B5EF4-FFF2-40B4-BE49-F238E27FC236}">
                  <a16:creationId xmlns:a16="http://schemas.microsoft.com/office/drawing/2014/main" id="{60FB7C18-A5D9-897F-80B9-DA3E27CDD499}"/>
                </a:ext>
              </a:extLst>
            </p:cNvPr>
            <p:cNvSpPr/>
            <p:nvPr/>
          </p:nvSpPr>
          <p:spPr bwMode="auto">
            <a:xfrm>
              <a:off x="7225513" y="2821299"/>
              <a:ext cx="1554480" cy="365760"/>
            </a:xfrm>
            <a:prstGeom prst="roundRect">
              <a:avLst>
                <a:gd name="adj" fmla="val 5638"/>
              </a:avLst>
            </a:prstGeom>
            <a:solidFill>
              <a:srgbClr val="145164"/>
            </a:solidFill>
            <a:ln w="9525" cap="flat" cmpd="sng" algn="ctr">
              <a:solidFill>
                <a:srgbClr val="14516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Children </a:t>
              </a:r>
            </a:p>
          </p:txBody>
        </p:sp>
        <p:sp>
          <p:nvSpPr>
            <p:cNvPr id="64" name="Rounded Rectangle 32">
              <a:extLst>
                <a:ext uri="{FF2B5EF4-FFF2-40B4-BE49-F238E27FC236}">
                  <a16:creationId xmlns:a16="http://schemas.microsoft.com/office/drawing/2014/main" id="{DF9DC011-E2AB-F574-A63D-611BAD3F221B}"/>
                </a:ext>
              </a:extLst>
            </p:cNvPr>
            <p:cNvSpPr/>
            <p:nvPr/>
          </p:nvSpPr>
          <p:spPr bwMode="auto">
            <a:xfrm>
              <a:off x="7225513" y="3257929"/>
              <a:ext cx="1554480" cy="365760"/>
            </a:xfrm>
            <a:prstGeom prst="roundRect">
              <a:avLst>
                <a:gd name="adj" fmla="val 5638"/>
              </a:avLst>
            </a:prstGeom>
            <a:solidFill>
              <a:srgbClr val="145164"/>
            </a:solidFill>
            <a:ln w="9525" cap="flat" cmpd="sng" algn="ctr">
              <a:solidFill>
                <a:srgbClr val="14516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Communities </a:t>
              </a:r>
            </a:p>
          </p:txBody>
        </p:sp>
      </p:grpSp>
      <p:sp>
        <p:nvSpPr>
          <p:cNvPr id="65" name="Oval 20">
            <a:extLst>
              <a:ext uri="{FF2B5EF4-FFF2-40B4-BE49-F238E27FC236}">
                <a16:creationId xmlns:a16="http://schemas.microsoft.com/office/drawing/2014/main" id="{BFCCBD91-85D1-310F-7D79-9980683B79FC}"/>
              </a:ext>
            </a:extLst>
          </p:cNvPr>
          <p:cNvSpPr>
            <a:spLocks noChangeAspect="1" noChangeArrowheads="1"/>
          </p:cNvSpPr>
          <p:nvPr/>
        </p:nvSpPr>
        <p:spPr bwMode="auto">
          <a:xfrm>
            <a:off x="5130602" y="1535571"/>
            <a:ext cx="173859" cy="173859"/>
          </a:xfrm>
          <a:prstGeom prst="ellipse">
            <a:avLst/>
          </a:prstGeom>
          <a:solidFill>
            <a:srgbClr val="9A9A9A">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cxnSp>
        <p:nvCxnSpPr>
          <p:cNvPr id="66" name="Straight Connector 65">
            <a:extLst>
              <a:ext uri="{FF2B5EF4-FFF2-40B4-BE49-F238E27FC236}">
                <a16:creationId xmlns:a16="http://schemas.microsoft.com/office/drawing/2014/main" id="{1C88D977-86D4-4872-F53B-7F57418621F1}"/>
              </a:ext>
            </a:extLst>
          </p:cNvPr>
          <p:cNvCxnSpPr>
            <a:cxnSpLocks/>
          </p:cNvCxnSpPr>
          <p:nvPr/>
        </p:nvCxnSpPr>
        <p:spPr>
          <a:xfrm flipH="1" flipV="1">
            <a:off x="5387608" y="4465760"/>
            <a:ext cx="1726636" cy="1"/>
          </a:xfrm>
          <a:prstGeom prst="line">
            <a:avLst/>
          </a:prstGeom>
          <a:ln w="19050" cap="rnd">
            <a:solidFill>
              <a:srgbClr val="9A9A9A"/>
            </a:solidFill>
            <a:prstDash val="sysDot"/>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38597576-35DE-AB54-6136-270640C8DAB9}"/>
              </a:ext>
            </a:extLst>
          </p:cNvPr>
          <p:cNvGrpSpPr>
            <a:grpSpLocks noChangeAspect="1"/>
          </p:cNvGrpSpPr>
          <p:nvPr/>
        </p:nvGrpSpPr>
        <p:grpSpPr>
          <a:xfrm>
            <a:off x="5307236" y="4305658"/>
            <a:ext cx="144882" cy="144882"/>
            <a:chOff x="982662" y="1847850"/>
            <a:chExt cx="269875" cy="269875"/>
          </a:xfrm>
        </p:grpSpPr>
        <p:sp>
          <p:nvSpPr>
            <p:cNvPr id="68" name="Oval 50">
              <a:extLst>
                <a:ext uri="{FF2B5EF4-FFF2-40B4-BE49-F238E27FC236}">
                  <a16:creationId xmlns:a16="http://schemas.microsoft.com/office/drawing/2014/main" id="{507D7830-1D16-6146-175E-7F9925239E8D}"/>
                </a:ext>
              </a:extLst>
            </p:cNvPr>
            <p:cNvSpPr>
              <a:spLocks noChangeArrowheads="1"/>
            </p:cNvSpPr>
            <p:nvPr/>
          </p:nvSpPr>
          <p:spPr bwMode="auto">
            <a:xfrm>
              <a:off x="982662" y="1847850"/>
              <a:ext cx="269875" cy="269875"/>
            </a:xfrm>
            <a:prstGeom prst="ellipse">
              <a:avLst/>
            </a:prstGeom>
            <a:solidFill>
              <a:srgbClr val="145164">
                <a:lumMod val="100000"/>
              </a:srgbClr>
            </a:solidFill>
            <a:ln>
              <a:noFill/>
            </a:ln>
          </p:spPr>
          <p:txBody>
            <a:bodyPr vert="horz" wrap="square" lIns="45720" tIns="22860" rIns="45720" bIns="22860" numCol="1" anchor="t" anchorCtr="0" compatLnSpc="1">
              <a:prstTxWarp prst="textNoShape">
                <a:avLst/>
              </a:prstTxWarp>
            </a:bodyPr>
            <a:lstStyle/>
            <a:p>
              <a:endParaRPr lang="en-US" dirty="0">
                <a:solidFill>
                  <a:schemeClr val="bg1"/>
                </a:solidFill>
              </a:endParaRPr>
            </a:p>
          </p:txBody>
        </p:sp>
        <p:sp>
          <p:nvSpPr>
            <p:cNvPr id="69" name="Freeform 51">
              <a:extLst>
                <a:ext uri="{FF2B5EF4-FFF2-40B4-BE49-F238E27FC236}">
                  <a16:creationId xmlns:a16="http://schemas.microsoft.com/office/drawing/2014/main" id="{B1A080AE-E836-FBC0-B0C3-FD60E350A5D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45720" tIns="22860" rIns="45720" bIns="22860" numCol="1" anchor="t" anchorCtr="0" compatLnSpc="1">
              <a:prstTxWarp prst="textNoShape">
                <a:avLst/>
              </a:prstTxWarp>
            </a:bodyPr>
            <a:lstStyle/>
            <a:p>
              <a:endParaRPr lang="en-US" dirty="0">
                <a:solidFill>
                  <a:schemeClr val="bg1"/>
                </a:solidFill>
              </a:endParaRPr>
            </a:p>
          </p:txBody>
        </p:sp>
      </p:grpSp>
      <p:grpSp>
        <p:nvGrpSpPr>
          <p:cNvPr id="70" name="Group 69">
            <a:extLst>
              <a:ext uri="{FF2B5EF4-FFF2-40B4-BE49-F238E27FC236}">
                <a16:creationId xmlns:a16="http://schemas.microsoft.com/office/drawing/2014/main" id="{CD5004C6-215D-861F-034E-8E89937CF6FD}"/>
              </a:ext>
            </a:extLst>
          </p:cNvPr>
          <p:cNvGrpSpPr>
            <a:grpSpLocks noChangeAspect="1"/>
          </p:cNvGrpSpPr>
          <p:nvPr/>
        </p:nvGrpSpPr>
        <p:grpSpPr>
          <a:xfrm>
            <a:off x="6984744" y="4311431"/>
            <a:ext cx="144882" cy="144882"/>
            <a:chOff x="982662" y="1847850"/>
            <a:chExt cx="269875" cy="269875"/>
          </a:xfrm>
        </p:grpSpPr>
        <p:sp>
          <p:nvSpPr>
            <p:cNvPr id="71" name="Oval 50">
              <a:extLst>
                <a:ext uri="{FF2B5EF4-FFF2-40B4-BE49-F238E27FC236}">
                  <a16:creationId xmlns:a16="http://schemas.microsoft.com/office/drawing/2014/main" id="{E5690BF5-75FE-F987-A001-C434467E0ACC}"/>
                </a:ext>
              </a:extLst>
            </p:cNvPr>
            <p:cNvSpPr>
              <a:spLocks noChangeArrowheads="1"/>
            </p:cNvSpPr>
            <p:nvPr/>
          </p:nvSpPr>
          <p:spPr bwMode="auto">
            <a:xfrm>
              <a:off x="982662" y="1847850"/>
              <a:ext cx="269875" cy="269875"/>
            </a:xfrm>
            <a:prstGeom prst="ellipse">
              <a:avLst/>
            </a:prstGeom>
            <a:solidFill>
              <a:srgbClr val="145164">
                <a:lumMod val="100000"/>
              </a:srgbClr>
            </a:solidFill>
            <a:ln>
              <a:noFill/>
            </a:ln>
          </p:spPr>
          <p:txBody>
            <a:bodyPr vert="horz" wrap="square" lIns="45720" tIns="22860" rIns="45720" bIns="22860" numCol="1" anchor="t" anchorCtr="0" compatLnSpc="1">
              <a:prstTxWarp prst="textNoShape">
                <a:avLst/>
              </a:prstTxWarp>
            </a:bodyPr>
            <a:lstStyle/>
            <a:p>
              <a:endParaRPr lang="en-US" dirty="0">
                <a:solidFill>
                  <a:schemeClr val="bg1"/>
                </a:solidFill>
              </a:endParaRPr>
            </a:p>
          </p:txBody>
        </p:sp>
        <p:sp>
          <p:nvSpPr>
            <p:cNvPr id="72" name="Freeform 51">
              <a:extLst>
                <a:ext uri="{FF2B5EF4-FFF2-40B4-BE49-F238E27FC236}">
                  <a16:creationId xmlns:a16="http://schemas.microsoft.com/office/drawing/2014/main" id="{FDA39029-2B1D-7250-CD0F-E518167C473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45720" tIns="22860" rIns="45720" bIns="22860" numCol="1" anchor="t" anchorCtr="0" compatLnSpc="1">
              <a:prstTxWarp prst="textNoShape">
                <a:avLst/>
              </a:prstTxWarp>
            </a:bodyPr>
            <a:lstStyle/>
            <a:p>
              <a:endParaRPr lang="en-US" dirty="0">
                <a:solidFill>
                  <a:schemeClr val="bg1"/>
                </a:solidFill>
              </a:endParaRPr>
            </a:p>
          </p:txBody>
        </p:sp>
      </p:grpSp>
      <p:sp>
        <p:nvSpPr>
          <p:cNvPr id="73" name="Rectangle 72">
            <a:extLst>
              <a:ext uri="{FF2B5EF4-FFF2-40B4-BE49-F238E27FC236}">
                <a16:creationId xmlns:a16="http://schemas.microsoft.com/office/drawing/2014/main" id="{EFDDFAB2-484E-76BB-5E3D-46C7F9867BC9}"/>
              </a:ext>
            </a:extLst>
          </p:cNvPr>
          <p:cNvSpPr/>
          <p:nvPr/>
        </p:nvSpPr>
        <p:spPr>
          <a:xfrm>
            <a:off x="5516467" y="2797846"/>
            <a:ext cx="1467641" cy="1163441"/>
          </a:xfrm>
          <a:prstGeom prst="rect">
            <a:avLst/>
          </a:prstGeom>
          <a:noFill/>
          <a:ln w="9525" cap="rnd" cmpd="sng" algn="ctr">
            <a:solidFill>
              <a:srgbClr val="145164"/>
            </a:solidFill>
            <a:prstDash val="solid"/>
            <a:round/>
            <a:headEnd type="none" w="med" len="med"/>
            <a:tailEnd type="none" w="med" len="med"/>
          </a:ln>
          <a:extLst>
            <a:ext uri="{909E8E84-426E-40DD-AFC4-6F175D3DCCD1}">
              <a14:hiddenFill xmlns:a14="http://schemas.microsoft.com/office/drawing/2010/main">
                <a:solidFill>
                  <a:srgbClr val="1451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TextBox 73">
            <a:extLst>
              <a:ext uri="{FF2B5EF4-FFF2-40B4-BE49-F238E27FC236}">
                <a16:creationId xmlns:a16="http://schemas.microsoft.com/office/drawing/2014/main" id="{370059B5-6816-778F-2632-456FE381F77C}"/>
              </a:ext>
            </a:extLst>
          </p:cNvPr>
          <p:cNvSpPr txBox="1"/>
          <p:nvPr/>
        </p:nvSpPr>
        <p:spPr>
          <a:xfrm>
            <a:off x="5387608" y="4085399"/>
            <a:ext cx="1726636" cy="174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algn="ctr">
              <a:buSzPts val="1200"/>
              <a:defRPr sz="1200" i="1">
                <a:solidFill>
                  <a:srgbClr val="7F7F7F"/>
                </a:solidFill>
              </a:defRPr>
            </a:lvl1pPr>
          </a:lstStyle>
          <a:p>
            <a:r>
              <a:rPr lang="en-GB" dirty="0"/>
              <a:t>Ontario, Scotland</a:t>
            </a:r>
          </a:p>
        </p:txBody>
      </p:sp>
      <p:sp>
        <p:nvSpPr>
          <p:cNvPr id="75" name="TextBox 74">
            <a:extLst>
              <a:ext uri="{FF2B5EF4-FFF2-40B4-BE49-F238E27FC236}">
                <a16:creationId xmlns:a16="http://schemas.microsoft.com/office/drawing/2014/main" id="{9F640003-B69D-E6BC-F2B5-17E788FA871C}"/>
              </a:ext>
            </a:extLst>
          </p:cNvPr>
          <p:cNvSpPr txBox="1"/>
          <p:nvPr/>
        </p:nvSpPr>
        <p:spPr>
          <a:xfrm>
            <a:off x="5392489" y="6067841"/>
            <a:ext cx="1726636" cy="174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algn="ctr">
              <a:buSzPts val="1200"/>
              <a:defRPr sz="1200" i="1">
                <a:solidFill>
                  <a:srgbClr val="7F7F7F"/>
                </a:solidFill>
              </a:defRPr>
            </a:lvl1pPr>
          </a:lstStyle>
          <a:p>
            <a:r>
              <a:rPr lang="en-GB" dirty="0"/>
              <a:t>New Zealand, Ireland </a:t>
            </a:r>
          </a:p>
        </p:txBody>
      </p:sp>
      <p:sp>
        <p:nvSpPr>
          <p:cNvPr id="76" name="TextBox 75">
            <a:extLst>
              <a:ext uri="{FF2B5EF4-FFF2-40B4-BE49-F238E27FC236}">
                <a16:creationId xmlns:a16="http://schemas.microsoft.com/office/drawing/2014/main" id="{A36AE44B-5B55-5728-E732-E8C6C9AB1037}"/>
              </a:ext>
            </a:extLst>
          </p:cNvPr>
          <p:cNvSpPr txBox="1"/>
          <p:nvPr/>
        </p:nvSpPr>
        <p:spPr>
          <a:xfrm>
            <a:off x="8106766" y="3199943"/>
            <a:ext cx="798506" cy="368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dirty="0">
                <a:solidFill>
                  <a:schemeClr val="bg1"/>
                </a:solidFill>
              </a:rPr>
              <a:t>Stage 1</a:t>
            </a:r>
          </a:p>
        </p:txBody>
      </p:sp>
      <p:sp>
        <p:nvSpPr>
          <p:cNvPr id="77" name="TextBox 76">
            <a:extLst>
              <a:ext uri="{FF2B5EF4-FFF2-40B4-BE49-F238E27FC236}">
                <a16:creationId xmlns:a16="http://schemas.microsoft.com/office/drawing/2014/main" id="{78B030B8-68A5-06E3-D66D-9CF3C569DB55}"/>
              </a:ext>
            </a:extLst>
          </p:cNvPr>
          <p:cNvSpPr txBox="1"/>
          <p:nvPr/>
        </p:nvSpPr>
        <p:spPr>
          <a:xfrm>
            <a:off x="9295416" y="3199943"/>
            <a:ext cx="798506" cy="368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dirty="0">
                <a:solidFill>
                  <a:schemeClr val="bg1"/>
                </a:solidFill>
              </a:rPr>
              <a:t>Stage 2</a:t>
            </a:r>
          </a:p>
        </p:txBody>
      </p:sp>
      <p:sp>
        <p:nvSpPr>
          <p:cNvPr id="78" name="TextBox 77">
            <a:extLst>
              <a:ext uri="{FF2B5EF4-FFF2-40B4-BE49-F238E27FC236}">
                <a16:creationId xmlns:a16="http://schemas.microsoft.com/office/drawing/2014/main" id="{BFEE86F7-8626-579F-70C6-4640A5DCF4ED}"/>
              </a:ext>
            </a:extLst>
          </p:cNvPr>
          <p:cNvSpPr txBox="1"/>
          <p:nvPr/>
        </p:nvSpPr>
        <p:spPr>
          <a:xfrm>
            <a:off x="10517078" y="3189474"/>
            <a:ext cx="798506" cy="368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dirty="0">
                <a:solidFill>
                  <a:schemeClr val="bg1"/>
                </a:solidFill>
              </a:rPr>
              <a:t>Stage 3</a:t>
            </a:r>
          </a:p>
        </p:txBody>
      </p:sp>
      <p:sp>
        <p:nvSpPr>
          <p:cNvPr id="79" name="TextBox 78">
            <a:extLst>
              <a:ext uri="{FF2B5EF4-FFF2-40B4-BE49-F238E27FC236}">
                <a16:creationId xmlns:a16="http://schemas.microsoft.com/office/drawing/2014/main" id="{92ACAC75-59F6-BB09-BABB-5C4966905747}"/>
              </a:ext>
            </a:extLst>
          </p:cNvPr>
          <p:cNvSpPr txBox="1"/>
          <p:nvPr/>
        </p:nvSpPr>
        <p:spPr>
          <a:xfrm>
            <a:off x="9472839" y="5400400"/>
            <a:ext cx="798506" cy="368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dirty="0">
                <a:solidFill>
                  <a:schemeClr val="bg1"/>
                </a:solidFill>
              </a:rPr>
              <a:t>1 stage</a:t>
            </a:r>
          </a:p>
        </p:txBody>
      </p:sp>
      <p:sp>
        <p:nvSpPr>
          <p:cNvPr id="80" name="Round Diagonal Corner Rectangle 31">
            <a:extLst>
              <a:ext uri="{FF2B5EF4-FFF2-40B4-BE49-F238E27FC236}">
                <a16:creationId xmlns:a16="http://schemas.microsoft.com/office/drawing/2014/main" id="{3698E768-6063-8288-6C31-7915FFE60AED}"/>
              </a:ext>
            </a:extLst>
          </p:cNvPr>
          <p:cNvSpPr/>
          <p:nvPr/>
        </p:nvSpPr>
        <p:spPr>
          <a:xfrm>
            <a:off x="450260" y="1357977"/>
            <a:ext cx="4432999" cy="495132"/>
          </a:xfrm>
          <a:prstGeom prst="rect">
            <a:avLst/>
          </a:prstGeom>
          <a:solidFill>
            <a:srgbClr val="145164"/>
          </a:solidFill>
          <a:ln w="9525" cap="rnd" cmpd="sng" algn="ctr">
            <a:solidFill>
              <a:srgbClr val="14516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476" tIns="0" rIns="0" bIns="0" numCol="1" spcCol="0" rtlCol="0" fromWordArt="0" anchor="ctr" anchorCtr="0" forceAA="0" compatLnSpc="1">
            <a:prstTxWarp prst="textNoShape">
              <a:avLst/>
            </a:prstTxWarp>
            <a:noAutofit/>
          </a:bodyPr>
          <a:lstStyle/>
          <a:p>
            <a:pPr marL="137160" lvl="0">
              <a:defRPr/>
            </a:pPr>
            <a:r>
              <a:rPr lang="en-US" sz="1400" dirty="0">
                <a:solidFill>
                  <a:srgbClr val="CCDE49"/>
                </a:solidFill>
              </a:rPr>
              <a:t>CENTRALISATION  | </a:t>
            </a:r>
            <a:r>
              <a:rPr lang="en-US" sz="1400" dirty="0">
                <a:solidFill>
                  <a:srgbClr val="FFFFFF"/>
                </a:solidFill>
              </a:rPr>
              <a:t>WHO MAKES POLICY DECISIONS? </a:t>
            </a:r>
          </a:p>
          <a:p>
            <a:pPr marL="137160" lvl="0">
              <a:defRPr/>
            </a:pPr>
            <a:r>
              <a:rPr lang="en-US" sz="1400" dirty="0">
                <a:solidFill>
                  <a:srgbClr val="CCDE49"/>
                </a:solidFill>
              </a:rPr>
              <a:t>PAS | </a:t>
            </a:r>
            <a:r>
              <a:rPr lang="en-US" sz="1400" dirty="0">
                <a:solidFill>
                  <a:srgbClr val="FFFFFF"/>
                </a:solidFill>
              </a:rPr>
              <a:t>WHO ARE MAJOR CONTRIBUTORS TO POLICY?</a:t>
            </a:r>
          </a:p>
        </p:txBody>
      </p:sp>
    </p:spTree>
    <p:extLst>
      <p:ext uri="{BB962C8B-B14F-4D97-AF65-F5344CB8AC3E}">
        <p14:creationId xmlns:p14="http://schemas.microsoft.com/office/powerpoint/2010/main" val="91341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3703F-A71D-3A94-1AC5-159BD28F61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C023FF-CB8C-6D9A-7813-F00839DC8C70}"/>
              </a:ext>
            </a:extLst>
          </p:cNvPr>
          <p:cNvSpPr>
            <a:spLocks noGrp="1"/>
          </p:cNvSpPr>
          <p:nvPr>
            <p:ph type="title"/>
          </p:nvPr>
        </p:nvSpPr>
        <p:spPr/>
        <p:txBody>
          <a:bodyPr/>
          <a:lstStyle/>
          <a:p>
            <a:r>
              <a:rPr lang="en-GB" dirty="0"/>
              <a:t>Interactions between and within policies </a:t>
            </a:r>
          </a:p>
        </p:txBody>
      </p:sp>
    </p:spTree>
    <p:extLst>
      <p:ext uri="{BB962C8B-B14F-4D97-AF65-F5344CB8AC3E}">
        <p14:creationId xmlns:p14="http://schemas.microsoft.com/office/powerpoint/2010/main" val="2565653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C1710-254B-8C02-4469-4A0228B377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734CF0-7E24-B221-ABC7-0B245BA0AFFA}"/>
              </a:ext>
            </a:extLst>
          </p:cNvPr>
          <p:cNvSpPr>
            <a:spLocks noGrp="1"/>
          </p:cNvSpPr>
          <p:nvPr>
            <p:ph type="title"/>
          </p:nvPr>
        </p:nvSpPr>
        <p:spPr/>
        <p:txBody>
          <a:bodyPr/>
          <a:lstStyle/>
          <a:p>
            <a:pPr algn="ctr"/>
            <a:r>
              <a:rPr lang="en-GB" sz="3600" dirty="0">
                <a:solidFill>
                  <a:schemeClr val="tx2"/>
                </a:solidFill>
              </a:rPr>
              <a:t>The risk</a:t>
            </a:r>
          </a:p>
        </p:txBody>
      </p:sp>
      <p:sp>
        <p:nvSpPr>
          <p:cNvPr id="4" name="TextBox 3">
            <a:extLst>
              <a:ext uri="{FF2B5EF4-FFF2-40B4-BE49-F238E27FC236}">
                <a16:creationId xmlns:a16="http://schemas.microsoft.com/office/drawing/2014/main" id="{203CE123-59C6-7E32-3C6F-B51E7852A1E6}"/>
              </a:ext>
            </a:extLst>
          </p:cNvPr>
          <p:cNvSpPr txBox="1"/>
          <p:nvPr/>
        </p:nvSpPr>
        <p:spPr>
          <a:xfrm>
            <a:off x="5199797" y="436728"/>
            <a:ext cx="6362203" cy="5923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dirty="0">
              <a:solidFill>
                <a:srgbClr val="000000"/>
              </a:solidFill>
            </a:endParaRPr>
          </a:p>
        </p:txBody>
      </p:sp>
      <p:sp>
        <p:nvSpPr>
          <p:cNvPr id="5" name="TextBox 4">
            <a:extLst>
              <a:ext uri="{FF2B5EF4-FFF2-40B4-BE49-F238E27FC236}">
                <a16:creationId xmlns:a16="http://schemas.microsoft.com/office/drawing/2014/main" id="{D908FDEB-9DBC-FC63-72FA-8DB3014046AF}"/>
              </a:ext>
            </a:extLst>
          </p:cNvPr>
          <p:cNvSpPr txBox="1"/>
          <p:nvPr/>
        </p:nvSpPr>
        <p:spPr>
          <a:xfrm>
            <a:off x="5199797" y="204716"/>
            <a:ext cx="6878472" cy="5977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GB" sz="2800" b="1" dirty="0">
                <a:solidFill>
                  <a:schemeClr val="tx2"/>
                </a:solidFill>
              </a:rPr>
              <a:t>Looking at a policy in isolation is out of step with how teachers and pupils experience policies.</a:t>
            </a:r>
          </a:p>
          <a:p>
            <a:pPr marL="342900" indent="-342900">
              <a:buFont typeface="Arial" panose="020B0604020202020204" pitchFamily="34" charset="0"/>
              <a:buChar char="•"/>
            </a:pPr>
            <a:r>
              <a:rPr lang="en-GB" sz="2800" b="1" dirty="0">
                <a:solidFill>
                  <a:schemeClr val="tx2"/>
                </a:solidFill>
              </a:rPr>
              <a:t>Overlooking equifinality: </a:t>
            </a:r>
            <a:r>
              <a:rPr lang="en-GB" sz="2800" dirty="0">
                <a:solidFill>
                  <a:schemeClr val="tx2"/>
                </a:solidFill>
              </a:rPr>
              <a:t>same effect or function different policy/cause.</a:t>
            </a:r>
          </a:p>
          <a:p>
            <a:pPr marL="342900" indent="-342900">
              <a:buFont typeface="Arial" panose="020B0604020202020204" pitchFamily="34" charset="0"/>
              <a:buChar char="•"/>
            </a:pPr>
            <a:r>
              <a:rPr lang="en-GB" sz="2800" b="1" dirty="0">
                <a:solidFill>
                  <a:schemeClr val="tx2"/>
                </a:solidFill>
              </a:rPr>
              <a:t>Ignoring coherence/incoherence.</a:t>
            </a:r>
            <a:endParaRPr lang="en-GB" sz="2800" dirty="0">
              <a:solidFill>
                <a:schemeClr val="tx2"/>
              </a:solidFill>
            </a:endParaRPr>
          </a:p>
        </p:txBody>
      </p:sp>
      <p:pic>
        <p:nvPicPr>
          <p:cNvPr id="3" name="Picture 2">
            <a:extLst>
              <a:ext uri="{FF2B5EF4-FFF2-40B4-BE49-F238E27FC236}">
                <a16:creationId xmlns:a16="http://schemas.microsoft.com/office/drawing/2014/main" id="{D848E691-01E5-DFF8-F64D-79071BEF929E}"/>
              </a:ext>
            </a:extLst>
          </p:cNvPr>
          <p:cNvPicPr>
            <a:picLocks noChangeAspect="1"/>
          </p:cNvPicPr>
          <p:nvPr/>
        </p:nvPicPr>
        <p:blipFill>
          <a:blip r:embed="rId2"/>
          <a:stretch>
            <a:fillRect/>
          </a:stretch>
        </p:blipFill>
        <p:spPr>
          <a:xfrm>
            <a:off x="9856643" y="27295"/>
            <a:ext cx="2195036" cy="732538"/>
          </a:xfrm>
          <a:prstGeom prst="rect">
            <a:avLst/>
          </a:prstGeom>
        </p:spPr>
      </p:pic>
    </p:spTree>
    <p:extLst>
      <p:ext uri="{BB962C8B-B14F-4D97-AF65-F5344CB8AC3E}">
        <p14:creationId xmlns:p14="http://schemas.microsoft.com/office/powerpoint/2010/main" val="290885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4C000-167B-4CE2-C172-3432831007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A01B76-A642-8A9F-E8D3-262CA6EB78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CEA01B76-A642-8A9F-E8D3-262CA6EB78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6DBAD2-79BC-3652-670C-326B5BE65C02}"/>
              </a:ext>
            </a:extLst>
          </p:cNvPr>
          <p:cNvSpPr>
            <a:spLocks noGrp="1"/>
          </p:cNvSpPr>
          <p:nvPr>
            <p:ph type="title"/>
          </p:nvPr>
        </p:nvSpPr>
        <p:spPr>
          <a:xfrm>
            <a:off x="628650" y="482032"/>
            <a:ext cx="10335056" cy="625231"/>
          </a:xfrm>
        </p:spPr>
        <p:txBody>
          <a:bodyPr vert="horz"/>
          <a:lstStyle/>
          <a:p>
            <a:r>
              <a:rPr lang="en-US" dirty="0">
                <a:solidFill>
                  <a:srgbClr val="10C4C8"/>
                </a:solidFill>
              </a:rPr>
              <a:t>Curriculum policy | </a:t>
            </a:r>
            <a:r>
              <a:rPr lang="en-US" dirty="0"/>
              <a:t>Policy interactions</a:t>
            </a:r>
          </a:p>
        </p:txBody>
      </p:sp>
      <p:pic>
        <p:nvPicPr>
          <p:cNvPr id="3" name="Picture 2">
            <a:extLst>
              <a:ext uri="{FF2B5EF4-FFF2-40B4-BE49-F238E27FC236}">
                <a16:creationId xmlns:a16="http://schemas.microsoft.com/office/drawing/2014/main" id="{7D0BF494-04DF-8DA8-5885-8E376312B2F9}"/>
              </a:ext>
            </a:extLst>
          </p:cNvPr>
          <p:cNvPicPr>
            <a:picLocks noChangeAspect="1"/>
          </p:cNvPicPr>
          <p:nvPr/>
        </p:nvPicPr>
        <p:blipFill>
          <a:blip r:embed="rId5"/>
          <a:srcRect l="2701" r="3269"/>
          <a:stretch>
            <a:fillRect/>
          </a:stretch>
        </p:blipFill>
        <p:spPr>
          <a:xfrm>
            <a:off x="1706748" y="1213785"/>
            <a:ext cx="8802029" cy="5203512"/>
          </a:xfrm>
          <a:prstGeom prst="rect">
            <a:avLst/>
          </a:prstGeom>
        </p:spPr>
      </p:pic>
    </p:spTree>
    <p:extLst>
      <p:ext uri="{BB962C8B-B14F-4D97-AF65-F5344CB8AC3E}">
        <p14:creationId xmlns:p14="http://schemas.microsoft.com/office/powerpoint/2010/main" val="2985327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B8390-B2F6-4607-B9C7-B069583553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31C399-DFE7-E4CF-EF2D-EB0B2758CF78}"/>
              </a:ext>
            </a:extLst>
          </p:cNvPr>
          <p:cNvSpPr>
            <a:spLocks noGrp="1"/>
          </p:cNvSpPr>
          <p:nvPr>
            <p:ph type="title"/>
          </p:nvPr>
        </p:nvSpPr>
        <p:spPr/>
        <p:txBody>
          <a:bodyPr/>
          <a:lstStyle/>
          <a:p>
            <a:endParaRPr lang="en-GB"/>
          </a:p>
        </p:txBody>
      </p:sp>
      <p:pic>
        <p:nvPicPr>
          <p:cNvPr id="11266" name="Picture 2" descr="A diagram of different types of people&#10;&#10;Description automatically generated with medium confidence">
            <a:extLst>
              <a:ext uri="{FF2B5EF4-FFF2-40B4-BE49-F238E27FC236}">
                <a16:creationId xmlns:a16="http://schemas.microsoft.com/office/drawing/2014/main" id="{C3050BA2-08A2-08B6-64F4-97C8392557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329"/>
            <a:ext cx="12192000" cy="6845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4017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8F36D2-B361-DFA7-B576-E45BDBA96D14}"/>
              </a:ext>
            </a:extLst>
          </p:cNvPr>
          <p:cNvPicPr>
            <a:picLocks noChangeAspect="1"/>
          </p:cNvPicPr>
          <p:nvPr/>
        </p:nvPicPr>
        <p:blipFill>
          <a:blip r:embed="rId2"/>
          <a:stretch>
            <a:fillRect/>
          </a:stretch>
        </p:blipFill>
        <p:spPr>
          <a:xfrm rot="20796708">
            <a:off x="1867371" y="600414"/>
            <a:ext cx="4085734" cy="5657171"/>
          </a:xfrm>
          <a:prstGeom prst="rect">
            <a:avLst/>
          </a:prstGeom>
        </p:spPr>
      </p:pic>
      <p:sp>
        <p:nvSpPr>
          <p:cNvPr id="5" name="TextBox 4">
            <a:extLst>
              <a:ext uri="{FF2B5EF4-FFF2-40B4-BE49-F238E27FC236}">
                <a16:creationId xmlns:a16="http://schemas.microsoft.com/office/drawing/2014/main" id="{C1F4425C-5D84-EA4D-B977-E1297D77EBF1}"/>
              </a:ext>
            </a:extLst>
          </p:cNvPr>
          <p:cNvSpPr txBox="1"/>
          <p:nvPr/>
        </p:nvSpPr>
        <p:spPr>
          <a:xfrm>
            <a:off x="7656394" y="1651379"/>
            <a:ext cx="3548418" cy="19516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GB" sz="2400" dirty="0">
                <a:solidFill>
                  <a:srgbClr val="000000"/>
                </a:solidFill>
              </a:rPr>
              <a:t>Tensions and complementarity</a:t>
            </a:r>
          </a:p>
          <a:p>
            <a:pPr marL="171450" indent="-171450">
              <a:buFont typeface="Arial" panose="020B0604020202020204" pitchFamily="34" charset="0"/>
              <a:buChar char="•"/>
            </a:pPr>
            <a:endParaRPr lang="en-GB" sz="2400" dirty="0">
              <a:solidFill>
                <a:srgbClr val="000000"/>
              </a:solidFill>
            </a:endParaRPr>
          </a:p>
          <a:p>
            <a:pPr marL="171450" indent="-171450">
              <a:buFont typeface="Arial" panose="020B0604020202020204" pitchFamily="34" charset="0"/>
              <a:buChar char="•"/>
            </a:pPr>
            <a:r>
              <a:rPr lang="en-GB" sz="2400" dirty="0">
                <a:solidFill>
                  <a:srgbClr val="000000"/>
                </a:solidFill>
              </a:rPr>
              <a:t>Building up layers of detail over time</a:t>
            </a:r>
          </a:p>
        </p:txBody>
      </p:sp>
    </p:spTree>
    <p:extLst>
      <p:ext uri="{BB962C8B-B14F-4D97-AF65-F5344CB8AC3E}">
        <p14:creationId xmlns:p14="http://schemas.microsoft.com/office/powerpoint/2010/main" val="1641878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24B9BD1-F6E3-A888-1D1E-6142B028E872}"/>
              </a:ext>
            </a:extLst>
          </p:cNvPr>
          <p:cNvPicPr>
            <a:picLocks noChangeAspect="1"/>
          </p:cNvPicPr>
          <p:nvPr/>
        </p:nvPicPr>
        <p:blipFill>
          <a:blip r:embed="rId2"/>
          <a:stretch>
            <a:fillRect/>
          </a:stretch>
        </p:blipFill>
        <p:spPr>
          <a:xfrm>
            <a:off x="765127" y="230095"/>
            <a:ext cx="10335056" cy="5797303"/>
          </a:xfrm>
          <a:prstGeom prst="rect">
            <a:avLst/>
          </a:prstGeom>
        </p:spPr>
      </p:pic>
      <p:pic>
        <p:nvPicPr>
          <p:cNvPr id="9" name="Picture 8" descr="A black and blue sign with text&#10;&#10;AI-generated content may be incorrect.">
            <a:extLst>
              <a:ext uri="{FF2B5EF4-FFF2-40B4-BE49-F238E27FC236}">
                <a16:creationId xmlns:a16="http://schemas.microsoft.com/office/drawing/2014/main" id="{803FFFE6-B59F-17D9-B63C-14E96218E6B4}"/>
              </a:ext>
            </a:extLst>
          </p:cNvPr>
          <p:cNvPicPr/>
          <p:nvPr/>
        </p:nvPicPr>
        <p:blipFill>
          <a:blip r:embed="rId3">
            <a:lum bright="70000" contrast="-70000"/>
          </a:blip>
          <a:stretch>
            <a:fillRect/>
          </a:stretch>
        </p:blipFill>
        <p:spPr>
          <a:xfrm>
            <a:off x="9685510" y="5358963"/>
            <a:ext cx="1064260" cy="639445"/>
          </a:xfrm>
          <a:prstGeom prst="rect">
            <a:avLst/>
          </a:prstGeom>
        </p:spPr>
      </p:pic>
      <p:sp>
        <p:nvSpPr>
          <p:cNvPr id="4" name="TextBox 3">
            <a:extLst>
              <a:ext uri="{FF2B5EF4-FFF2-40B4-BE49-F238E27FC236}">
                <a16:creationId xmlns:a16="http://schemas.microsoft.com/office/drawing/2014/main" id="{7F6FAD5F-DC34-5382-D7D6-FD137D2D1D2D}"/>
              </a:ext>
            </a:extLst>
          </p:cNvPr>
          <p:cNvSpPr txBox="1"/>
          <p:nvPr/>
        </p:nvSpPr>
        <p:spPr>
          <a:xfrm>
            <a:off x="3002507" y="6168788"/>
            <a:ext cx="5829878" cy="5868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2800" dirty="0">
                <a:solidFill>
                  <a:srgbClr val="8CE63A"/>
                </a:solidFill>
                <a:hlinkClick r:id="rId4">
                  <a:extLst>
                    <a:ext uri="{A12FA001-AC4F-418D-AE19-62706E023703}">
                      <ahyp:hlinkClr xmlns:ahyp="http://schemas.microsoft.com/office/drawing/2018/hyperlinkcolor" val="tx"/>
                    </a:ext>
                  </a:extLst>
                </a:hlinkClick>
              </a:rPr>
              <a:t>www.ces.partners</a:t>
            </a:r>
            <a:r>
              <a:rPr lang="en-GB" sz="2800" dirty="0">
                <a:solidFill>
                  <a:srgbClr val="8CE63A"/>
                </a:solidFill>
              </a:rPr>
              <a:t> &gt;&gt; resources</a:t>
            </a:r>
          </a:p>
        </p:txBody>
      </p:sp>
    </p:spTree>
    <p:extLst>
      <p:ext uri="{BB962C8B-B14F-4D97-AF65-F5344CB8AC3E}">
        <p14:creationId xmlns:p14="http://schemas.microsoft.com/office/powerpoint/2010/main" val="2288638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D4F98-5704-82A8-DD3D-7195D950A5B4}"/>
              </a:ext>
            </a:extLst>
          </p:cNvPr>
          <p:cNvSpPr>
            <a:spLocks noGrp="1"/>
          </p:cNvSpPr>
          <p:nvPr>
            <p:ph type="title"/>
          </p:nvPr>
        </p:nvSpPr>
        <p:spPr/>
        <p:txBody>
          <a:bodyPr/>
          <a:lstStyle/>
          <a:p>
            <a:r>
              <a:rPr lang="en-US" dirty="0"/>
              <a:t>‘What works’ v. ‘what happens’ </a:t>
            </a:r>
            <a:endParaRPr lang="en-GB" dirty="0"/>
          </a:p>
        </p:txBody>
      </p:sp>
    </p:spTree>
    <p:extLst>
      <p:ext uri="{BB962C8B-B14F-4D97-AF65-F5344CB8AC3E}">
        <p14:creationId xmlns:p14="http://schemas.microsoft.com/office/powerpoint/2010/main" val="350099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718AC-1717-B9DA-36D1-1EC29226F9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6B1743-1F23-589C-9A8D-2C95C62D69FD}"/>
              </a:ext>
            </a:extLst>
          </p:cNvPr>
          <p:cNvSpPr>
            <a:spLocks noGrp="1"/>
          </p:cNvSpPr>
          <p:nvPr>
            <p:ph type="title"/>
          </p:nvPr>
        </p:nvSpPr>
        <p:spPr>
          <a:xfrm>
            <a:off x="630000" y="2008303"/>
            <a:ext cx="3452400" cy="1495794"/>
          </a:xfrm>
        </p:spPr>
        <p:txBody>
          <a:bodyPr/>
          <a:lstStyle/>
          <a:p>
            <a:pPr algn="ctr"/>
            <a:r>
              <a:rPr lang="en-GB" sz="3600" dirty="0">
                <a:solidFill>
                  <a:schemeClr val="tx2"/>
                </a:solidFill>
              </a:rPr>
              <a:t>The risk</a:t>
            </a:r>
          </a:p>
        </p:txBody>
      </p:sp>
      <p:sp>
        <p:nvSpPr>
          <p:cNvPr id="4" name="TextBox 3">
            <a:extLst>
              <a:ext uri="{FF2B5EF4-FFF2-40B4-BE49-F238E27FC236}">
                <a16:creationId xmlns:a16="http://schemas.microsoft.com/office/drawing/2014/main" id="{791C79FD-CE1A-B636-274A-A7A0C08FB35E}"/>
              </a:ext>
            </a:extLst>
          </p:cNvPr>
          <p:cNvSpPr txBox="1"/>
          <p:nvPr/>
        </p:nvSpPr>
        <p:spPr>
          <a:xfrm>
            <a:off x="5199797" y="436728"/>
            <a:ext cx="6362203" cy="5923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dirty="0">
              <a:solidFill>
                <a:srgbClr val="000000"/>
              </a:solidFill>
            </a:endParaRPr>
          </a:p>
        </p:txBody>
      </p:sp>
      <p:sp>
        <p:nvSpPr>
          <p:cNvPr id="5" name="TextBox 4">
            <a:extLst>
              <a:ext uri="{FF2B5EF4-FFF2-40B4-BE49-F238E27FC236}">
                <a16:creationId xmlns:a16="http://schemas.microsoft.com/office/drawing/2014/main" id="{7A35C75A-8A16-33ED-51E3-C782E03E5EE4}"/>
              </a:ext>
            </a:extLst>
          </p:cNvPr>
          <p:cNvSpPr txBox="1"/>
          <p:nvPr/>
        </p:nvSpPr>
        <p:spPr>
          <a:xfrm>
            <a:off x="5199797" y="204716"/>
            <a:ext cx="6878472" cy="5977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GB" sz="2800" b="1" dirty="0">
                <a:solidFill>
                  <a:schemeClr val="tx2"/>
                </a:solidFill>
              </a:rPr>
              <a:t>Information gap:</a:t>
            </a:r>
            <a:r>
              <a:rPr lang="en-GB" sz="2800" dirty="0">
                <a:solidFill>
                  <a:schemeClr val="tx2"/>
                </a:solidFill>
              </a:rPr>
              <a:t> blindness to potential alternatives and dependencies</a:t>
            </a:r>
          </a:p>
          <a:p>
            <a:pPr marL="342900" indent="-342900">
              <a:buFont typeface="Arial" panose="020B0604020202020204" pitchFamily="34" charset="0"/>
              <a:buChar char="•"/>
            </a:pPr>
            <a:r>
              <a:rPr lang="en-GB" sz="2800" b="1" dirty="0">
                <a:solidFill>
                  <a:schemeClr val="tx2"/>
                </a:solidFill>
              </a:rPr>
              <a:t>Jumping from correlation for causation</a:t>
            </a:r>
            <a:endParaRPr lang="en-GB" sz="2800" dirty="0">
              <a:solidFill>
                <a:schemeClr val="tx2"/>
              </a:solidFill>
            </a:endParaRPr>
          </a:p>
          <a:p>
            <a:pPr marL="342900" indent="-342900">
              <a:buFont typeface="Arial" panose="020B0604020202020204" pitchFamily="34" charset="0"/>
              <a:buChar char="•"/>
            </a:pPr>
            <a:r>
              <a:rPr lang="en-GB" sz="2800" b="1" dirty="0">
                <a:solidFill>
                  <a:schemeClr val="tx2"/>
                </a:solidFill>
              </a:rPr>
              <a:t>Making unreasoned choices</a:t>
            </a:r>
          </a:p>
        </p:txBody>
      </p:sp>
    </p:spTree>
    <p:extLst>
      <p:ext uri="{BB962C8B-B14F-4D97-AF65-F5344CB8AC3E}">
        <p14:creationId xmlns:p14="http://schemas.microsoft.com/office/powerpoint/2010/main" val="1559879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84C17-489D-49DA-FB67-D51D2DDC6992}"/>
            </a:ext>
          </a:extLst>
        </p:cNvPr>
        <p:cNvGrpSpPr/>
        <p:nvPr/>
      </p:nvGrpSpPr>
      <p:grpSpPr>
        <a:xfrm>
          <a:off x="0" y="0"/>
          <a:ext cx="0" cy="0"/>
          <a:chOff x="0" y="0"/>
          <a:chExt cx="0" cy="0"/>
        </a:xfrm>
      </p:grpSpPr>
      <p:graphicFrame>
        <p:nvGraphicFramePr>
          <p:cNvPr id="104" name="think-cell data - do not delete" hidden="1">
            <a:extLst>
              <a:ext uri="{FF2B5EF4-FFF2-40B4-BE49-F238E27FC236}">
                <a16:creationId xmlns:a16="http://schemas.microsoft.com/office/drawing/2014/main" id="{8699FC5F-D959-287F-6F99-B7B1A9895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6" imgH="367" progId="TCLayout.ActiveDocument.1">
                  <p:embed/>
                </p:oleObj>
              </mc:Choice>
              <mc:Fallback>
                <p:oleObj name="think-cell Slide" r:id="rId4" imgW="366" imgH="367" progId="TCLayout.ActiveDocument.1">
                  <p:embed/>
                  <p:pic>
                    <p:nvPicPr>
                      <p:cNvPr id="104" name="think-cell data - do not delete" hidden="1">
                        <a:extLst>
                          <a:ext uri="{FF2B5EF4-FFF2-40B4-BE49-F238E27FC236}">
                            <a16:creationId xmlns:a16="http://schemas.microsoft.com/office/drawing/2014/main" id="{8699FC5F-D959-287F-6F99-B7B1A98951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CA5218C-7053-54A6-0691-948C80C7BB0A}"/>
              </a:ext>
            </a:extLst>
          </p:cNvPr>
          <p:cNvSpPr/>
          <p:nvPr/>
        </p:nvSpPr>
        <p:spPr>
          <a:xfrm>
            <a:off x="630000" y="979949"/>
            <a:ext cx="4723236" cy="5513033"/>
          </a:xfrm>
          <a:prstGeom prst="rect">
            <a:avLst/>
          </a:prstGeom>
          <a:solidFill>
            <a:srgbClr val="FFFFFF"/>
          </a:solidFill>
          <a:ln w="28575" cap="rnd" cmpd="sng" algn="ctr">
            <a:solidFill>
              <a:srgbClr val="145164"/>
            </a:solidFill>
            <a:prstDash val="solid"/>
            <a:round/>
            <a:headEnd type="none" w="med" len="med"/>
            <a:tailEnd type="none" w="med" len="med"/>
          </a:ln>
          <a:effectLst>
            <a:outerShdw blurRad="25400" dist="12700" dir="54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a:extLst>
              <a:ext uri="{FF2B5EF4-FFF2-40B4-BE49-F238E27FC236}">
                <a16:creationId xmlns:a16="http://schemas.microsoft.com/office/drawing/2014/main" id="{6B46EB06-8F2D-131F-FDFB-E1BFA2982774}"/>
              </a:ext>
            </a:extLst>
          </p:cNvPr>
          <p:cNvSpPr/>
          <p:nvPr/>
        </p:nvSpPr>
        <p:spPr>
          <a:xfrm>
            <a:off x="5353236" y="1127093"/>
            <a:ext cx="6210115" cy="5273336"/>
          </a:xfrm>
          <a:prstGeom prst="rect">
            <a:avLst/>
          </a:prstGeom>
          <a:solidFill>
            <a:srgbClr val="FFFFFF"/>
          </a:solidFill>
          <a:ln w="28575" cap="rnd" cmpd="sng" algn="ctr">
            <a:solidFill>
              <a:srgbClr val="145164"/>
            </a:solidFill>
            <a:prstDash val="solid"/>
            <a:round/>
            <a:headEnd type="none" w="med" len="med"/>
            <a:tailEnd type="none" w="med" len="med"/>
          </a:ln>
          <a:effectLst>
            <a:outerShdw blurRad="25400" dist="12700" dir="54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0769171F-E4E8-2761-7206-78929E73C8C7}"/>
              </a:ext>
            </a:extLst>
          </p:cNvPr>
          <p:cNvSpPr>
            <a:spLocks noGrp="1"/>
          </p:cNvSpPr>
          <p:nvPr>
            <p:ph type="title"/>
          </p:nvPr>
        </p:nvSpPr>
        <p:spPr>
          <a:xfrm>
            <a:off x="628650" y="271910"/>
            <a:ext cx="9320568" cy="625231"/>
          </a:xfrm>
        </p:spPr>
        <p:txBody>
          <a:bodyPr vert="horz"/>
          <a:lstStyle/>
          <a:p>
            <a:r>
              <a:rPr lang="en-US" dirty="0">
                <a:solidFill>
                  <a:srgbClr val="10C4C8"/>
                </a:solidFill>
              </a:rPr>
              <a:t>Alternative approaches to accountability |</a:t>
            </a:r>
            <a:r>
              <a:rPr lang="en-GB" dirty="0"/>
              <a:t>’Chain of command’ </a:t>
            </a:r>
            <a:br>
              <a:rPr lang="en-GB" dirty="0"/>
            </a:br>
            <a:endParaRPr lang="en-US" dirty="0"/>
          </a:p>
        </p:txBody>
      </p:sp>
      <p:sp>
        <p:nvSpPr>
          <p:cNvPr id="20" name="Rectangle: Rounded Corners 19">
            <a:extLst>
              <a:ext uri="{FF2B5EF4-FFF2-40B4-BE49-F238E27FC236}">
                <a16:creationId xmlns:a16="http://schemas.microsoft.com/office/drawing/2014/main" id="{D3215390-02DD-2B10-3069-1A9F77E81A9A}"/>
              </a:ext>
            </a:extLst>
          </p:cNvPr>
          <p:cNvSpPr>
            <a:spLocks/>
          </p:cNvSpPr>
          <p:nvPr/>
        </p:nvSpPr>
        <p:spPr>
          <a:xfrm>
            <a:off x="3911854" y="2637508"/>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Regional or district body</a:t>
            </a:r>
          </a:p>
        </p:txBody>
      </p:sp>
      <p:sp>
        <p:nvSpPr>
          <p:cNvPr id="22" name="Rectangle: Rounded Corners 21">
            <a:extLst>
              <a:ext uri="{FF2B5EF4-FFF2-40B4-BE49-F238E27FC236}">
                <a16:creationId xmlns:a16="http://schemas.microsoft.com/office/drawing/2014/main" id="{2C54EE20-777F-8758-85E8-B6F9FBFB931D}"/>
              </a:ext>
            </a:extLst>
          </p:cNvPr>
          <p:cNvSpPr>
            <a:spLocks/>
          </p:cNvSpPr>
          <p:nvPr/>
        </p:nvSpPr>
        <p:spPr>
          <a:xfrm rot="10800000" flipV="1">
            <a:off x="2095788" y="5131263"/>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chemeClr val="bg1">
                    <a:lumMod val="65000"/>
                  </a:schemeClr>
                </a:solidFill>
              </a:rPr>
              <a:t>Peers</a:t>
            </a:r>
          </a:p>
          <a:p>
            <a:pPr algn="ctr">
              <a:lnSpc>
                <a:spcPct val="95000"/>
              </a:lnSpc>
            </a:pPr>
            <a:r>
              <a:rPr lang="en-US" sz="1050" i="1" kern="0" dirty="0">
                <a:solidFill>
                  <a:schemeClr val="bg1">
                    <a:lumMod val="65000"/>
                  </a:schemeClr>
                </a:solidFill>
              </a:rPr>
              <a:t>(school cluster or colleagues)</a:t>
            </a:r>
          </a:p>
        </p:txBody>
      </p:sp>
      <p:sp>
        <p:nvSpPr>
          <p:cNvPr id="34" name="Rectangle: Rounded Corners 33">
            <a:extLst>
              <a:ext uri="{FF2B5EF4-FFF2-40B4-BE49-F238E27FC236}">
                <a16:creationId xmlns:a16="http://schemas.microsoft.com/office/drawing/2014/main" id="{374B75E1-71C4-7D70-DED3-11642E7027A1}"/>
              </a:ext>
            </a:extLst>
          </p:cNvPr>
          <p:cNvSpPr>
            <a:spLocks/>
          </p:cNvSpPr>
          <p:nvPr/>
        </p:nvSpPr>
        <p:spPr>
          <a:xfrm rot="10800000" flipV="1">
            <a:off x="867449" y="2862126"/>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050" kern="0" dirty="0">
                <a:solidFill>
                  <a:schemeClr val="bg1">
                    <a:lumMod val="65000"/>
                  </a:schemeClr>
                </a:solidFill>
              </a:rPr>
              <a:t>Quality</a:t>
            </a:r>
            <a:br>
              <a:rPr lang="en-US" sz="1050" kern="0" dirty="0">
                <a:solidFill>
                  <a:schemeClr val="bg1">
                    <a:lumMod val="65000"/>
                  </a:schemeClr>
                </a:solidFill>
              </a:rPr>
            </a:br>
            <a:r>
              <a:rPr lang="en-US" sz="1050" kern="0" dirty="0">
                <a:solidFill>
                  <a:schemeClr val="bg1">
                    <a:lumMod val="65000"/>
                  </a:schemeClr>
                </a:solidFill>
              </a:rPr>
              <a:t>bodies</a:t>
            </a:r>
          </a:p>
        </p:txBody>
      </p:sp>
      <p:sp>
        <p:nvSpPr>
          <p:cNvPr id="78" name="Rectangle: Rounded Corners 77">
            <a:extLst>
              <a:ext uri="{FF2B5EF4-FFF2-40B4-BE49-F238E27FC236}">
                <a16:creationId xmlns:a16="http://schemas.microsoft.com/office/drawing/2014/main" id="{F57E9DCF-BBD0-43B7-96C7-F643E566A469}"/>
              </a:ext>
            </a:extLst>
          </p:cNvPr>
          <p:cNvSpPr>
            <a:spLocks/>
          </p:cNvSpPr>
          <p:nvPr/>
        </p:nvSpPr>
        <p:spPr>
          <a:xfrm rot="10800000" flipV="1">
            <a:off x="1604514" y="2014732"/>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chemeClr val="bg1">
                    <a:lumMod val="65000"/>
                  </a:schemeClr>
                </a:solidFill>
              </a:rPr>
              <a:t>Court/</a:t>
            </a:r>
            <a:br>
              <a:rPr lang="en-US" sz="1050" kern="0" dirty="0">
                <a:solidFill>
                  <a:schemeClr val="bg1">
                    <a:lumMod val="65000"/>
                  </a:schemeClr>
                </a:solidFill>
              </a:rPr>
            </a:br>
            <a:r>
              <a:rPr lang="en-US" sz="1050" kern="0" dirty="0">
                <a:solidFill>
                  <a:schemeClr val="bg1">
                    <a:lumMod val="65000"/>
                  </a:schemeClr>
                </a:solidFill>
              </a:rPr>
              <a:t>Regulatory authority</a:t>
            </a:r>
          </a:p>
        </p:txBody>
      </p:sp>
      <p:sp>
        <p:nvSpPr>
          <p:cNvPr id="51" name="Rectangle: Rounded Corners 50">
            <a:extLst>
              <a:ext uri="{FF2B5EF4-FFF2-40B4-BE49-F238E27FC236}">
                <a16:creationId xmlns:a16="http://schemas.microsoft.com/office/drawing/2014/main" id="{8F94EBB3-EE08-E034-F921-2DC98749B446}"/>
              </a:ext>
            </a:extLst>
          </p:cNvPr>
          <p:cNvSpPr>
            <a:spLocks/>
          </p:cNvSpPr>
          <p:nvPr/>
        </p:nvSpPr>
        <p:spPr>
          <a:xfrm rot="10800000" flipV="1">
            <a:off x="927100" y="4600284"/>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050" kern="0" dirty="0">
                <a:solidFill>
                  <a:schemeClr val="bg1">
                    <a:lumMod val="65000"/>
                  </a:schemeClr>
                </a:solidFill>
              </a:rPr>
              <a:t>Public </a:t>
            </a:r>
          </a:p>
          <a:p>
            <a:pPr algn="ctr">
              <a:lnSpc>
                <a:spcPct val="95000"/>
              </a:lnSpc>
            </a:pPr>
            <a:r>
              <a:rPr lang="en-US" sz="1050" kern="0" dirty="0">
                <a:solidFill>
                  <a:schemeClr val="bg1">
                    <a:lumMod val="65000"/>
                  </a:schemeClr>
                </a:solidFill>
              </a:rPr>
              <a:t>(stakeholders/</a:t>
            </a:r>
            <a:br>
              <a:rPr lang="en-US" sz="1050" kern="0" dirty="0">
                <a:solidFill>
                  <a:schemeClr val="bg1">
                    <a:lumMod val="65000"/>
                  </a:schemeClr>
                </a:solidFill>
              </a:rPr>
            </a:br>
            <a:r>
              <a:rPr lang="en-US" sz="1050" kern="0" dirty="0">
                <a:solidFill>
                  <a:schemeClr val="bg1">
                    <a:lumMod val="65000"/>
                  </a:schemeClr>
                </a:solidFill>
              </a:rPr>
              <a:t>community)</a:t>
            </a:r>
          </a:p>
        </p:txBody>
      </p:sp>
      <p:sp>
        <p:nvSpPr>
          <p:cNvPr id="63" name="Rectangle: Rounded Corners 62">
            <a:extLst>
              <a:ext uri="{FF2B5EF4-FFF2-40B4-BE49-F238E27FC236}">
                <a16:creationId xmlns:a16="http://schemas.microsoft.com/office/drawing/2014/main" id="{683CAE7C-70FD-C166-AFC9-09F0F9DD46A5}"/>
              </a:ext>
            </a:extLst>
          </p:cNvPr>
          <p:cNvSpPr>
            <a:spLocks/>
          </p:cNvSpPr>
          <p:nvPr/>
        </p:nvSpPr>
        <p:spPr>
          <a:xfrm>
            <a:off x="4194940" y="3542694"/>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School board/</a:t>
            </a:r>
          </a:p>
          <a:p>
            <a:pPr algn="ctr">
              <a:lnSpc>
                <a:spcPct val="95000"/>
              </a:lnSpc>
            </a:pPr>
            <a:r>
              <a:rPr lang="en-US" sz="1050" kern="0" dirty="0">
                <a:solidFill>
                  <a:srgbClr val="000000"/>
                </a:solidFill>
              </a:rPr>
              <a:t>Governing body</a:t>
            </a:r>
          </a:p>
        </p:txBody>
      </p:sp>
      <p:sp>
        <p:nvSpPr>
          <p:cNvPr id="70" name="Rectangle: Rounded Corners 69">
            <a:extLst>
              <a:ext uri="{FF2B5EF4-FFF2-40B4-BE49-F238E27FC236}">
                <a16:creationId xmlns:a16="http://schemas.microsoft.com/office/drawing/2014/main" id="{D34448DA-1FC9-DD05-C4D3-B8BA3A580B51}"/>
              </a:ext>
            </a:extLst>
          </p:cNvPr>
          <p:cNvSpPr>
            <a:spLocks/>
          </p:cNvSpPr>
          <p:nvPr/>
        </p:nvSpPr>
        <p:spPr>
          <a:xfrm>
            <a:off x="3482891" y="5079285"/>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Teachers</a:t>
            </a:r>
          </a:p>
        </p:txBody>
      </p:sp>
      <p:sp>
        <p:nvSpPr>
          <p:cNvPr id="43" name="Rectangle: Rounded Corners 42">
            <a:extLst>
              <a:ext uri="{FF2B5EF4-FFF2-40B4-BE49-F238E27FC236}">
                <a16:creationId xmlns:a16="http://schemas.microsoft.com/office/drawing/2014/main" id="{3093782C-3CE2-DDD9-FCF4-E6DCCE4E8A01}"/>
              </a:ext>
            </a:extLst>
          </p:cNvPr>
          <p:cNvSpPr>
            <a:spLocks/>
          </p:cNvSpPr>
          <p:nvPr/>
        </p:nvSpPr>
        <p:spPr>
          <a:xfrm>
            <a:off x="837849" y="3615245"/>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spc="-24" dirty="0">
                <a:solidFill>
                  <a:schemeClr val="bg1">
                    <a:lumMod val="65000"/>
                  </a:schemeClr>
                </a:solidFill>
              </a:rPr>
              <a:t>Multi-school proprietor or operator</a:t>
            </a:r>
          </a:p>
        </p:txBody>
      </p:sp>
      <p:sp>
        <p:nvSpPr>
          <p:cNvPr id="87" name="Rectangle: Rounded Corners 86">
            <a:extLst>
              <a:ext uri="{FF2B5EF4-FFF2-40B4-BE49-F238E27FC236}">
                <a16:creationId xmlns:a16="http://schemas.microsoft.com/office/drawing/2014/main" id="{C98B9F0F-7172-63BA-E236-F64B715A06EC}"/>
              </a:ext>
            </a:extLst>
          </p:cNvPr>
          <p:cNvSpPr>
            <a:spLocks/>
          </p:cNvSpPr>
          <p:nvPr/>
        </p:nvSpPr>
        <p:spPr>
          <a:xfrm>
            <a:off x="2807954" y="1698778"/>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Ministry</a:t>
            </a:r>
          </a:p>
        </p:txBody>
      </p:sp>
      <p:sp>
        <p:nvSpPr>
          <p:cNvPr id="88" name="Rectangle: Rounded Corners 87">
            <a:extLst>
              <a:ext uri="{FF2B5EF4-FFF2-40B4-BE49-F238E27FC236}">
                <a16:creationId xmlns:a16="http://schemas.microsoft.com/office/drawing/2014/main" id="{179F983D-3959-33E1-81F0-5C2B1BC9F15F}"/>
              </a:ext>
            </a:extLst>
          </p:cNvPr>
          <p:cNvSpPr>
            <a:spLocks/>
          </p:cNvSpPr>
          <p:nvPr/>
        </p:nvSpPr>
        <p:spPr>
          <a:xfrm>
            <a:off x="4181669" y="4438684"/>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School leaders</a:t>
            </a:r>
          </a:p>
        </p:txBody>
      </p:sp>
      <p:cxnSp>
        <p:nvCxnSpPr>
          <p:cNvPr id="157" name="Straight Connector 156">
            <a:extLst>
              <a:ext uri="{FF2B5EF4-FFF2-40B4-BE49-F238E27FC236}">
                <a16:creationId xmlns:a16="http://schemas.microsoft.com/office/drawing/2014/main" id="{9982B24F-C11F-19D8-2279-E5BDF7A0DC86}"/>
              </a:ext>
            </a:extLst>
          </p:cNvPr>
          <p:cNvCxnSpPr/>
          <p:nvPr/>
        </p:nvCxnSpPr>
        <p:spPr>
          <a:xfrm flipV="1">
            <a:off x="5973905" y="3178394"/>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50B7A14-9C99-11A7-A0C8-E43063BADFB4}"/>
              </a:ext>
            </a:extLst>
          </p:cNvPr>
          <p:cNvCxnSpPr/>
          <p:nvPr/>
        </p:nvCxnSpPr>
        <p:spPr>
          <a:xfrm flipV="1">
            <a:off x="5973905" y="4617395"/>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2E9A430B-5212-D13C-DA8C-6E87EF4FD922}"/>
              </a:ext>
            </a:extLst>
          </p:cNvPr>
          <p:cNvCxnSpPr/>
          <p:nvPr/>
        </p:nvCxnSpPr>
        <p:spPr>
          <a:xfrm flipV="1">
            <a:off x="5973905" y="5625510"/>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7F6B4B19-A213-FF51-5D9C-9F14D462339A}"/>
              </a:ext>
            </a:extLst>
          </p:cNvPr>
          <p:cNvCxnSpPr/>
          <p:nvPr/>
        </p:nvCxnSpPr>
        <p:spPr>
          <a:xfrm flipV="1">
            <a:off x="5973905" y="1739392"/>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DD35E533-B11D-B014-CD1F-832734128EA6}"/>
              </a:ext>
            </a:extLst>
          </p:cNvPr>
          <p:cNvSpPr txBox="1"/>
          <p:nvPr/>
        </p:nvSpPr>
        <p:spPr>
          <a:xfrm>
            <a:off x="5710237" y="4798287"/>
            <a:ext cx="580072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78000" lvl="1" indent="-252000" fontAlgn="base">
              <a:buClr>
                <a:srgbClr val="145164"/>
              </a:buClr>
              <a:buFont typeface="Trebuchet MS" panose="020B0603020202020204" pitchFamily="34" charset="0"/>
              <a:buChar char="•"/>
            </a:pPr>
            <a:r>
              <a:rPr lang="en-GB" sz="1400" dirty="0">
                <a:solidFill>
                  <a:schemeClr val="tx2"/>
                </a:solidFill>
              </a:rPr>
              <a:t>Inputs: </a:t>
            </a:r>
            <a:r>
              <a:rPr lang="en-GB" sz="1400" dirty="0">
                <a:solidFill>
                  <a:srgbClr val="000000"/>
                </a:solidFill>
              </a:rPr>
              <a:t>Auditing financial reports, Teacher safeguarding records</a:t>
            </a:r>
          </a:p>
          <a:p>
            <a:pPr marL="378000" lvl="1" indent="-252000" fontAlgn="base">
              <a:buClr>
                <a:srgbClr val="145164"/>
              </a:buClr>
              <a:buFont typeface="Trebuchet MS" panose="020B0603020202020204" pitchFamily="34" charset="0"/>
              <a:buChar char="•"/>
            </a:pPr>
            <a:r>
              <a:rPr lang="en-GB" sz="1400" dirty="0">
                <a:solidFill>
                  <a:schemeClr val="tx2"/>
                </a:solidFill>
              </a:rPr>
              <a:t>Processes: </a:t>
            </a:r>
            <a:r>
              <a:rPr lang="en-GB" sz="1400" dirty="0">
                <a:solidFill>
                  <a:srgbClr val="000000"/>
                </a:solidFill>
              </a:rPr>
              <a:t>Classroom observations, Leadership evaluation </a:t>
            </a:r>
          </a:p>
          <a:p>
            <a:pPr marL="378000" lvl="1" indent="-252000" fontAlgn="base">
              <a:buClr>
                <a:srgbClr val="145164"/>
              </a:buClr>
              <a:buFont typeface="Trebuchet MS" panose="020B0603020202020204" pitchFamily="34" charset="0"/>
              <a:buChar char="•"/>
            </a:pPr>
            <a:r>
              <a:rPr lang="en-GB" sz="1400" dirty="0">
                <a:solidFill>
                  <a:schemeClr val="tx2"/>
                </a:solidFill>
              </a:rPr>
              <a:t>Outcomes:</a:t>
            </a:r>
            <a:r>
              <a:rPr lang="en-GB" sz="1400" dirty="0">
                <a:solidFill>
                  <a:srgbClr val="000000"/>
                </a:solidFill>
              </a:rPr>
              <a:t> Attainment results</a:t>
            </a:r>
            <a:endParaRPr lang="en-GB" dirty="0">
              <a:solidFill>
                <a:srgbClr val="000000"/>
              </a:solidFill>
            </a:endParaRPr>
          </a:p>
        </p:txBody>
      </p:sp>
      <p:sp>
        <p:nvSpPr>
          <p:cNvPr id="117" name="TextBox 116">
            <a:extLst>
              <a:ext uri="{FF2B5EF4-FFF2-40B4-BE49-F238E27FC236}">
                <a16:creationId xmlns:a16="http://schemas.microsoft.com/office/drawing/2014/main" id="{E816554E-A454-5373-0D51-827BF5468C98}"/>
              </a:ext>
            </a:extLst>
          </p:cNvPr>
          <p:cNvSpPr txBox="1"/>
          <p:nvPr/>
        </p:nvSpPr>
        <p:spPr>
          <a:xfrm>
            <a:off x="5687487" y="1603184"/>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Country examples </a:t>
            </a:r>
            <a:r>
              <a:rPr lang="en-US" sz="1200" i="1" dirty="0">
                <a:solidFill>
                  <a:srgbClr val="145164"/>
                </a:solidFill>
              </a:rPr>
              <a:t>(Non-exhaustive)</a:t>
            </a:r>
            <a:endParaRPr lang="en-US" sz="1600" i="1" dirty="0">
              <a:solidFill>
                <a:srgbClr val="145164"/>
              </a:solidFill>
            </a:endParaRPr>
          </a:p>
        </p:txBody>
      </p:sp>
      <p:sp>
        <p:nvSpPr>
          <p:cNvPr id="119" name="TextBox 118">
            <a:extLst>
              <a:ext uri="{FF2B5EF4-FFF2-40B4-BE49-F238E27FC236}">
                <a16:creationId xmlns:a16="http://schemas.microsoft.com/office/drawing/2014/main" id="{02F2F3DA-4110-E1DC-7410-4A12C9FE933B}"/>
              </a:ext>
            </a:extLst>
          </p:cNvPr>
          <p:cNvSpPr txBox="1"/>
          <p:nvPr/>
        </p:nvSpPr>
        <p:spPr>
          <a:xfrm>
            <a:off x="5710237" y="5806401"/>
            <a:ext cx="5800725"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78000" lvl="1" indent="-252000" fontAlgn="base">
              <a:buClr>
                <a:srgbClr val="145164"/>
              </a:buClr>
              <a:buFont typeface="Trebuchet MS" panose="020B0603020202020204" pitchFamily="34" charset="0"/>
              <a:buChar char="•"/>
            </a:pPr>
            <a:r>
              <a:rPr lang="en-GB" sz="1400" dirty="0">
                <a:solidFill>
                  <a:srgbClr val="000000"/>
                </a:solidFill>
              </a:rPr>
              <a:t>Additional support or heightened oversight is preferred</a:t>
            </a:r>
          </a:p>
          <a:p>
            <a:pPr marL="378000" lvl="1" indent="-252000" fontAlgn="base">
              <a:buClr>
                <a:srgbClr val="145164"/>
              </a:buClr>
              <a:buFont typeface="Trebuchet MS" panose="020B0603020202020204" pitchFamily="34" charset="0"/>
              <a:buChar char="•"/>
            </a:pPr>
            <a:r>
              <a:rPr lang="en-GB" sz="1400" dirty="0">
                <a:solidFill>
                  <a:srgbClr val="000000"/>
                </a:solidFill>
              </a:rPr>
              <a:t>Sanctions also used (Rapid reinspection, warning letters, etc.) </a:t>
            </a:r>
          </a:p>
        </p:txBody>
      </p:sp>
      <p:sp>
        <p:nvSpPr>
          <p:cNvPr id="120" name="TextBox 119">
            <a:extLst>
              <a:ext uri="{FF2B5EF4-FFF2-40B4-BE49-F238E27FC236}">
                <a16:creationId xmlns:a16="http://schemas.microsoft.com/office/drawing/2014/main" id="{842C05D9-E80D-F0D1-752C-A3EB15099010}"/>
              </a:ext>
            </a:extLst>
          </p:cNvPr>
          <p:cNvSpPr txBox="1"/>
          <p:nvPr/>
        </p:nvSpPr>
        <p:spPr>
          <a:xfrm>
            <a:off x="5687487" y="4481188"/>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Quality measures </a:t>
            </a:r>
            <a:r>
              <a:rPr lang="en-US" sz="1200" i="1" dirty="0">
                <a:solidFill>
                  <a:srgbClr val="145164"/>
                </a:solidFill>
              </a:rPr>
              <a:t>(Non-exhaustive)</a:t>
            </a:r>
            <a:endParaRPr lang="en-US" sz="1600" dirty="0">
              <a:solidFill>
                <a:srgbClr val="145164"/>
              </a:solidFill>
            </a:endParaRPr>
          </a:p>
        </p:txBody>
      </p:sp>
      <p:sp>
        <p:nvSpPr>
          <p:cNvPr id="121" name="TextBox 120">
            <a:extLst>
              <a:ext uri="{FF2B5EF4-FFF2-40B4-BE49-F238E27FC236}">
                <a16:creationId xmlns:a16="http://schemas.microsoft.com/office/drawing/2014/main" id="{4ADB9B8D-47E2-4692-B4D1-70407894B0D3}"/>
              </a:ext>
            </a:extLst>
          </p:cNvPr>
          <p:cNvSpPr txBox="1"/>
          <p:nvPr/>
        </p:nvSpPr>
        <p:spPr>
          <a:xfrm>
            <a:off x="5687487" y="5489303"/>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Consequences </a:t>
            </a:r>
            <a:r>
              <a:rPr lang="en-US" sz="1200" i="1" dirty="0">
                <a:solidFill>
                  <a:srgbClr val="145164"/>
                </a:solidFill>
              </a:rPr>
              <a:t>(Non-exhaustive)</a:t>
            </a:r>
            <a:endParaRPr lang="en-US" sz="1600" dirty="0">
              <a:solidFill>
                <a:srgbClr val="145164"/>
              </a:solidFill>
            </a:endParaRPr>
          </a:p>
        </p:txBody>
      </p:sp>
      <p:sp>
        <p:nvSpPr>
          <p:cNvPr id="122" name="TextBox 121">
            <a:extLst>
              <a:ext uri="{FF2B5EF4-FFF2-40B4-BE49-F238E27FC236}">
                <a16:creationId xmlns:a16="http://schemas.microsoft.com/office/drawing/2014/main" id="{528FE152-E537-7EB8-CABB-569A6067C6E0}"/>
              </a:ext>
            </a:extLst>
          </p:cNvPr>
          <p:cNvSpPr txBox="1"/>
          <p:nvPr/>
        </p:nvSpPr>
        <p:spPr>
          <a:xfrm>
            <a:off x="5710237" y="3359285"/>
            <a:ext cx="5800725" cy="10772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78000" lvl="1" indent="-252000">
              <a:buClr>
                <a:srgbClr val="145164"/>
              </a:buClr>
              <a:buFont typeface="Trebuchet MS" panose="020B0603020202020204" pitchFamily="34" charset="0"/>
              <a:buChar char="•"/>
            </a:pPr>
            <a:r>
              <a:rPr lang="en-GB" sz="1400" dirty="0">
                <a:solidFill>
                  <a:srgbClr val="000000"/>
                </a:solidFill>
              </a:rPr>
              <a:t>Most common form of accountability across 14 jurisdictions</a:t>
            </a:r>
          </a:p>
          <a:p>
            <a:pPr marL="378000" lvl="1" indent="-252000" eaLnBrk="0" fontAlgn="base" hangingPunct="0">
              <a:buClr>
                <a:srgbClr val="145164"/>
              </a:buClr>
              <a:buFont typeface="Trebuchet MS" panose="020B0603020202020204" pitchFamily="34" charset="0"/>
              <a:buChar char="•"/>
            </a:pPr>
            <a:r>
              <a:rPr lang="en-US" altLang="en-US" sz="1400" dirty="0">
                <a:solidFill>
                  <a:srgbClr val="000000"/>
                </a:solidFill>
              </a:rPr>
              <a:t>Systems with this approach often: </a:t>
            </a:r>
          </a:p>
          <a:p>
            <a:pPr marL="756000" lvl="2" indent="-252000" eaLnBrk="0" fontAlgn="base" hangingPunct="0">
              <a:buClr>
                <a:srgbClr val="145164"/>
              </a:buClr>
              <a:buFont typeface="Aptos" panose="020B0004020202020204" pitchFamily="34" charset="0"/>
              <a:buChar char="–"/>
            </a:pPr>
            <a:r>
              <a:rPr lang="en-US" altLang="en-US" sz="1400" dirty="0">
                <a:solidFill>
                  <a:srgbClr val="000000"/>
                </a:solidFill>
              </a:rPr>
              <a:t>Have </a:t>
            </a:r>
            <a:r>
              <a:rPr lang="en-US" altLang="en-US" sz="1400" dirty="0">
                <a:solidFill>
                  <a:schemeClr val="tx2"/>
                </a:solidFill>
              </a:rPr>
              <a:t>more </a:t>
            </a:r>
            <a:r>
              <a:rPr lang="en-US" altLang="en-US" sz="1400" dirty="0" err="1">
                <a:solidFill>
                  <a:schemeClr val="tx2"/>
                </a:solidFill>
              </a:rPr>
              <a:t>centralised</a:t>
            </a:r>
            <a:r>
              <a:rPr lang="en-US" altLang="en-US" sz="1400" dirty="0">
                <a:solidFill>
                  <a:schemeClr val="tx2"/>
                </a:solidFill>
              </a:rPr>
              <a:t> system-governance</a:t>
            </a:r>
          </a:p>
          <a:p>
            <a:pPr marL="756000" lvl="2" indent="-252000" eaLnBrk="0" fontAlgn="base" hangingPunct="0">
              <a:buClr>
                <a:srgbClr val="145164"/>
              </a:buClr>
              <a:buFont typeface="Aptos" panose="020B0004020202020204" pitchFamily="34" charset="0"/>
              <a:buChar char="–"/>
            </a:pPr>
            <a:r>
              <a:rPr lang="en-US" altLang="en-US" sz="1400" dirty="0">
                <a:solidFill>
                  <a:srgbClr val="000000"/>
                </a:solidFill>
              </a:rPr>
              <a:t>Place </a:t>
            </a:r>
            <a:r>
              <a:rPr lang="en-US" altLang="en-US" sz="1400" dirty="0">
                <a:solidFill>
                  <a:schemeClr val="tx2"/>
                </a:solidFill>
              </a:rPr>
              <a:t>less emphasis on school autonomy</a:t>
            </a:r>
          </a:p>
          <a:p>
            <a:pPr marL="756000" lvl="2" indent="-252000" eaLnBrk="0" fontAlgn="base" hangingPunct="0">
              <a:buClr>
                <a:srgbClr val="145164"/>
              </a:buClr>
              <a:buFont typeface="Aptos" panose="020B0004020202020204" pitchFamily="34" charset="0"/>
              <a:buChar char="–"/>
            </a:pPr>
            <a:r>
              <a:rPr lang="en-US" altLang="en-US" sz="1400" dirty="0">
                <a:solidFill>
                  <a:srgbClr val="000000"/>
                </a:solidFill>
              </a:rPr>
              <a:t>Focus more on </a:t>
            </a:r>
            <a:r>
              <a:rPr lang="en-US" altLang="en-US" sz="1400" dirty="0">
                <a:solidFill>
                  <a:schemeClr val="tx2"/>
                </a:solidFill>
              </a:rPr>
              <a:t>compliance and direct support</a:t>
            </a:r>
            <a:endParaRPr lang="en-GB" sz="1400" dirty="0">
              <a:solidFill>
                <a:schemeClr val="tx2"/>
              </a:solidFill>
            </a:endParaRPr>
          </a:p>
        </p:txBody>
      </p:sp>
      <p:sp>
        <p:nvSpPr>
          <p:cNvPr id="123" name="TextBox 122">
            <a:extLst>
              <a:ext uri="{FF2B5EF4-FFF2-40B4-BE49-F238E27FC236}">
                <a16:creationId xmlns:a16="http://schemas.microsoft.com/office/drawing/2014/main" id="{B1CA3342-98C0-7AF8-BA62-865EFE1E86C6}"/>
              </a:ext>
            </a:extLst>
          </p:cNvPr>
          <p:cNvSpPr txBox="1"/>
          <p:nvPr/>
        </p:nvSpPr>
        <p:spPr>
          <a:xfrm>
            <a:off x="5687487" y="3042186"/>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Typical characteristics </a:t>
            </a:r>
          </a:p>
        </p:txBody>
      </p:sp>
      <p:sp>
        <p:nvSpPr>
          <p:cNvPr id="125" name="flag_label">
            <a:extLst>
              <a:ext uri="{FF2B5EF4-FFF2-40B4-BE49-F238E27FC236}">
                <a16:creationId xmlns:a16="http://schemas.microsoft.com/office/drawing/2014/main" id="{86BC2748-6E43-9F3D-BF9C-127D030F57EB}"/>
              </a:ext>
            </a:extLst>
          </p:cNvPr>
          <p:cNvSpPr>
            <a:spLocks noChangeArrowheads="1"/>
          </p:cNvSpPr>
          <p:nvPr/>
        </p:nvSpPr>
        <p:spPr bwMode="gray">
          <a:xfrm>
            <a:off x="5773279" y="2410230"/>
            <a:ext cx="597921" cy="215444"/>
          </a:xfrm>
          <a:prstGeom prst="rect">
            <a:avLst/>
          </a:prstGeom>
          <a:noFill/>
          <a:ln w="9525" algn="ctr">
            <a:noFill/>
            <a:miter lim="800000"/>
            <a:headEnd type="none" w="lg" len="lg"/>
            <a:tailEnd type="none" w="lg" len="lg"/>
          </a:ln>
        </p:spPr>
        <p:txBody>
          <a:bodyPr wrap="none" lIns="0" tIns="0" rIns="0" bIns="0">
            <a:noAutofit/>
          </a:bodyPr>
          <a:lstStyle/>
          <a:p>
            <a:pPr algn="ctr"/>
            <a:r>
              <a:rPr lang="en-US" sz="1400" dirty="0">
                <a:solidFill>
                  <a:srgbClr val="000000"/>
                </a:solidFill>
                <a:cs typeface="Arial" pitchFamily="34" charset="0"/>
                <a:sym typeface="Trebuchet MS" panose="020B0603020202020204" pitchFamily="34" charset="0"/>
              </a:rPr>
              <a:t>Estonia</a:t>
            </a:r>
          </a:p>
        </p:txBody>
      </p:sp>
      <p:pic>
        <p:nvPicPr>
          <p:cNvPr id="126" name="flag_estonia">
            <a:extLst>
              <a:ext uri="{FF2B5EF4-FFF2-40B4-BE49-F238E27FC236}">
                <a16:creationId xmlns:a16="http://schemas.microsoft.com/office/drawing/2014/main" id="{A107CB85-7B40-A0BE-6D78-51A5436382BD}"/>
              </a:ext>
            </a:extLst>
          </p:cNvPr>
          <p:cNvPicPr>
            <a:picLocks noChangeAspect="1" noChangeArrowheads="1"/>
          </p:cNvPicPr>
          <p:nvPr/>
        </p:nvPicPr>
        <p:blipFill>
          <a:blip r:embed="rId6"/>
          <a:srcRect r="4563"/>
          <a:stretch>
            <a:fillRect/>
          </a:stretch>
        </p:blipFill>
        <p:spPr bwMode="auto">
          <a:xfrm>
            <a:off x="5846840" y="2033497"/>
            <a:ext cx="450798" cy="300533"/>
          </a:xfrm>
          <a:prstGeom prst="rect">
            <a:avLst/>
          </a:prstGeom>
          <a:noFill/>
          <a:ln w="3175" cap="flat" cmpd="sng" algn="ctr">
            <a:solidFill>
              <a:srgbClr val="9A9A9A"/>
            </a:solidFill>
            <a:prstDash val="solid"/>
            <a:round/>
            <a:headEnd type="none" w="med" len="med"/>
            <a:tailEnd type="none" w="med" len="med"/>
          </a:ln>
        </p:spPr>
      </p:pic>
      <p:sp>
        <p:nvSpPr>
          <p:cNvPr id="128" name="flag_label">
            <a:extLst>
              <a:ext uri="{FF2B5EF4-FFF2-40B4-BE49-F238E27FC236}">
                <a16:creationId xmlns:a16="http://schemas.microsoft.com/office/drawing/2014/main" id="{9C8FD999-46BE-D18C-0784-4FFAF9819288}"/>
              </a:ext>
            </a:extLst>
          </p:cNvPr>
          <p:cNvSpPr>
            <a:spLocks noChangeArrowheads="1"/>
          </p:cNvSpPr>
          <p:nvPr/>
        </p:nvSpPr>
        <p:spPr bwMode="gray">
          <a:xfrm>
            <a:off x="7051216" y="2410230"/>
            <a:ext cx="597921"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Poland</a:t>
            </a:r>
          </a:p>
        </p:txBody>
      </p:sp>
      <p:pic>
        <p:nvPicPr>
          <p:cNvPr id="129" name="flag_poland">
            <a:extLst>
              <a:ext uri="{FF2B5EF4-FFF2-40B4-BE49-F238E27FC236}">
                <a16:creationId xmlns:a16="http://schemas.microsoft.com/office/drawing/2014/main" id="{EF440DFD-9E24-9E66-FC27-C5C1D7DDC16E}"/>
              </a:ext>
            </a:extLst>
          </p:cNvPr>
          <p:cNvPicPr>
            <a:picLocks noChangeAspect="1" noChangeArrowheads="1"/>
          </p:cNvPicPr>
          <p:nvPr/>
        </p:nvPicPr>
        <p:blipFill>
          <a:blip r:embed="rId7"/>
          <a:srcRect r="6250"/>
          <a:stretch>
            <a:fillRect/>
          </a:stretch>
        </p:blipFill>
        <p:spPr bwMode="auto">
          <a:xfrm>
            <a:off x="7124778" y="2033497"/>
            <a:ext cx="450800" cy="300533"/>
          </a:xfrm>
          <a:prstGeom prst="rect">
            <a:avLst/>
          </a:prstGeom>
          <a:noFill/>
          <a:ln w="3175" cap="flat" cmpd="sng" algn="ctr">
            <a:solidFill>
              <a:srgbClr val="9A9A9A"/>
            </a:solidFill>
            <a:prstDash val="solid"/>
            <a:round/>
            <a:headEnd type="none" w="med" len="med"/>
            <a:tailEnd type="none" w="med" len="med"/>
          </a:ln>
        </p:spPr>
      </p:pic>
      <p:sp>
        <p:nvSpPr>
          <p:cNvPr id="131" name="flag_label">
            <a:extLst>
              <a:ext uri="{FF2B5EF4-FFF2-40B4-BE49-F238E27FC236}">
                <a16:creationId xmlns:a16="http://schemas.microsoft.com/office/drawing/2014/main" id="{BA485F48-4039-1A98-821A-3D5F5090AD51}"/>
              </a:ext>
            </a:extLst>
          </p:cNvPr>
          <p:cNvSpPr>
            <a:spLocks noChangeArrowheads="1"/>
          </p:cNvSpPr>
          <p:nvPr/>
        </p:nvSpPr>
        <p:spPr bwMode="gray">
          <a:xfrm>
            <a:off x="8329153" y="2410230"/>
            <a:ext cx="783869"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Singapore</a:t>
            </a:r>
          </a:p>
        </p:txBody>
      </p:sp>
      <p:pic>
        <p:nvPicPr>
          <p:cNvPr id="132" name="flag_singapore">
            <a:extLst>
              <a:ext uri="{FF2B5EF4-FFF2-40B4-BE49-F238E27FC236}">
                <a16:creationId xmlns:a16="http://schemas.microsoft.com/office/drawing/2014/main" id="{6AE2727C-F84D-0001-9B8A-5670AA49A27A}"/>
              </a:ext>
            </a:extLst>
          </p:cNvPr>
          <p:cNvPicPr>
            <a:picLocks noChangeAspect="1" noChangeArrowheads="1"/>
          </p:cNvPicPr>
          <p:nvPr/>
        </p:nvPicPr>
        <p:blipFill>
          <a:blip r:embed="rId8"/>
          <a:srcRect/>
          <a:stretch>
            <a:fillRect/>
          </a:stretch>
        </p:blipFill>
        <p:spPr bwMode="auto">
          <a:xfrm>
            <a:off x="8495547" y="2033497"/>
            <a:ext cx="451081" cy="300533"/>
          </a:xfrm>
          <a:prstGeom prst="rect">
            <a:avLst/>
          </a:prstGeom>
          <a:noFill/>
          <a:ln w="3175" cap="flat" cmpd="sng" algn="ctr">
            <a:solidFill>
              <a:srgbClr val="9A9A9A"/>
            </a:solidFill>
            <a:prstDash val="solid"/>
            <a:round/>
            <a:headEnd type="none" w="med" len="med"/>
            <a:tailEnd type="none" w="med" len="med"/>
          </a:ln>
        </p:spPr>
      </p:pic>
      <p:sp>
        <p:nvSpPr>
          <p:cNvPr id="133" name="flag_label">
            <a:extLst>
              <a:ext uri="{FF2B5EF4-FFF2-40B4-BE49-F238E27FC236}">
                <a16:creationId xmlns:a16="http://schemas.microsoft.com/office/drawing/2014/main" id="{E16BB3FB-D36F-E961-C108-516AA42526D4}"/>
              </a:ext>
            </a:extLst>
          </p:cNvPr>
          <p:cNvSpPr>
            <a:spLocks noChangeArrowheads="1"/>
          </p:cNvSpPr>
          <p:nvPr/>
        </p:nvSpPr>
        <p:spPr bwMode="gray">
          <a:xfrm>
            <a:off x="9793038" y="2410230"/>
            <a:ext cx="531684"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France</a:t>
            </a:r>
            <a:endParaRPr lang="en-US" sz="800" dirty="0">
              <a:solidFill>
                <a:srgbClr val="000000"/>
              </a:solidFill>
              <a:cs typeface="Arial" pitchFamily="34" charset="0"/>
              <a:sym typeface="Trebuchet MS" panose="020B0603020202020204" pitchFamily="34" charset="0"/>
            </a:endParaRPr>
          </a:p>
        </p:txBody>
      </p:sp>
      <p:pic>
        <p:nvPicPr>
          <p:cNvPr id="134" name="flag_france">
            <a:extLst>
              <a:ext uri="{FF2B5EF4-FFF2-40B4-BE49-F238E27FC236}">
                <a16:creationId xmlns:a16="http://schemas.microsoft.com/office/drawing/2014/main" id="{62F54CE6-66AD-0F22-9C16-5AF966083473}"/>
              </a:ext>
            </a:extLst>
          </p:cNvPr>
          <p:cNvPicPr>
            <a:picLocks noChangeAspect="1" noChangeArrowheads="1"/>
          </p:cNvPicPr>
          <p:nvPr/>
        </p:nvPicPr>
        <p:blipFill>
          <a:blip r:embed="rId9"/>
          <a:srcRect/>
          <a:stretch>
            <a:fillRect/>
          </a:stretch>
        </p:blipFill>
        <p:spPr bwMode="auto">
          <a:xfrm>
            <a:off x="9833339" y="2033497"/>
            <a:ext cx="451081" cy="300533"/>
          </a:xfrm>
          <a:prstGeom prst="rect">
            <a:avLst/>
          </a:prstGeom>
          <a:noFill/>
          <a:ln w="3175" cap="flat" cmpd="sng" algn="ctr">
            <a:solidFill>
              <a:srgbClr val="9A9A9A"/>
            </a:solidFill>
            <a:prstDash val="solid"/>
            <a:round/>
            <a:headEnd type="none" w="med" len="med"/>
            <a:tailEnd type="none" w="med" len="med"/>
          </a:ln>
        </p:spPr>
      </p:pic>
      <p:sp>
        <p:nvSpPr>
          <p:cNvPr id="135" name="flag_label">
            <a:extLst>
              <a:ext uri="{FF2B5EF4-FFF2-40B4-BE49-F238E27FC236}">
                <a16:creationId xmlns:a16="http://schemas.microsoft.com/office/drawing/2014/main" id="{A0270EB4-B838-43C8-089A-45A7AB3A350B}"/>
              </a:ext>
            </a:extLst>
          </p:cNvPr>
          <p:cNvSpPr>
            <a:spLocks noChangeArrowheads="1"/>
          </p:cNvSpPr>
          <p:nvPr/>
        </p:nvSpPr>
        <p:spPr bwMode="gray">
          <a:xfrm>
            <a:off x="11004737" y="2410230"/>
            <a:ext cx="452753"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Japan</a:t>
            </a:r>
          </a:p>
        </p:txBody>
      </p:sp>
      <p:pic>
        <p:nvPicPr>
          <p:cNvPr id="136" name="flag_japan">
            <a:extLst>
              <a:ext uri="{FF2B5EF4-FFF2-40B4-BE49-F238E27FC236}">
                <a16:creationId xmlns:a16="http://schemas.microsoft.com/office/drawing/2014/main" id="{ADC61A5F-365D-108F-1114-160ED11FCC8A}"/>
              </a:ext>
            </a:extLst>
          </p:cNvPr>
          <p:cNvPicPr>
            <a:picLocks noChangeAspect="1" noChangeArrowheads="1"/>
          </p:cNvPicPr>
          <p:nvPr/>
        </p:nvPicPr>
        <p:blipFill>
          <a:blip r:embed="rId10"/>
          <a:srcRect/>
          <a:stretch>
            <a:fillRect/>
          </a:stretch>
        </p:blipFill>
        <p:spPr bwMode="auto">
          <a:xfrm>
            <a:off x="11005573" y="2033497"/>
            <a:ext cx="451081" cy="300533"/>
          </a:xfrm>
          <a:prstGeom prst="rect">
            <a:avLst/>
          </a:prstGeom>
          <a:noFill/>
          <a:ln w="3175" cap="flat" cmpd="sng" algn="ctr">
            <a:solidFill>
              <a:srgbClr val="9A9A9A"/>
            </a:solidFill>
            <a:prstDash val="solid"/>
            <a:round/>
            <a:headEnd type="none" w="med" len="med"/>
            <a:tailEnd type="none" w="med" len="med"/>
          </a:ln>
        </p:spPr>
      </p:pic>
      <p:cxnSp>
        <p:nvCxnSpPr>
          <p:cNvPr id="9" name="Straight Arrow Connector 8">
            <a:extLst>
              <a:ext uri="{FF2B5EF4-FFF2-40B4-BE49-F238E27FC236}">
                <a16:creationId xmlns:a16="http://schemas.microsoft.com/office/drawing/2014/main" id="{C3805A5E-2F31-0238-46F3-D8EEF83B6A41}"/>
              </a:ext>
            </a:extLst>
          </p:cNvPr>
          <p:cNvCxnSpPr>
            <a:cxnSpLocks/>
            <a:stCxn id="88" idx="0"/>
            <a:endCxn id="63" idx="2"/>
          </p:cNvCxnSpPr>
          <p:nvPr/>
        </p:nvCxnSpPr>
        <p:spPr>
          <a:xfrm flipV="1">
            <a:off x="4629665" y="4106784"/>
            <a:ext cx="13271" cy="331900"/>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98DB98B-49EB-940C-1254-65E10541F9B6}"/>
              </a:ext>
            </a:extLst>
          </p:cNvPr>
          <p:cNvCxnSpPr>
            <a:cxnSpLocks/>
          </p:cNvCxnSpPr>
          <p:nvPr/>
        </p:nvCxnSpPr>
        <p:spPr>
          <a:xfrm flipH="1" flipV="1">
            <a:off x="4488757" y="3191998"/>
            <a:ext cx="283086" cy="341096"/>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D26AD82-713A-5B62-2357-68BE99461CCF}"/>
              </a:ext>
            </a:extLst>
          </p:cNvPr>
          <p:cNvCxnSpPr>
            <a:cxnSpLocks/>
            <a:stCxn id="20" idx="0"/>
            <a:endCxn id="87" idx="3"/>
          </p:cNvCxnSpPr>
          <p:nvPr/>
        </p:nvCxnSpPr>
        <p:spPr>
          <a:xfrm flipH="1" flipV="1">
            <a:off x="3703946" y="1980823"/>
            <a:ext cx="655904" cy="656685"/>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7CE4483-CFEF-86C1-7944-68BE133DC582}"/>
              </a:ext>
            </a:extLst>
          </p:cNvPr>
          <p:cNvCxnSpPr>
            <a:cxnSpLocks/>
            <a:stCxn id="70" idx="3"/>
            <a:endCxn id="88" idx="2"/>
          </p:cNvCxnSpPr>
          <p:nvPr/>
        </p:nvCxnSpPr>
        <p:spPr>
          <a:xfrm flipV="1">
            <a:off x="4378883" y="5002774"/>
            <a:ext cx="250782" cy="358556"/>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5D3CC14D-9827-3706-1B24-851305C78184}"/>
              </a:ext>
            </a:extLst>
          </p:cNvPr>
          <p:cNvSpPr/>
          <p:nvPr/>
        </p:nvSpPr>
        <p:spPr>
          <a:xfrm>
            <a:off x="786235" y="1203289"/>
            <a:ext cx="4362955" cy="328735"/>
          </a:xfrm>
          <a:prstGeom prst="roundRect">
            <a:avLst/>
          </a:prstGeom>
          <a:solidFill>
            <a:srgbClr val="145164"/>
          </a:solidFill>
          <a:ln w="9525"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FFFFF"/>
                </a:solidFill>
              </a:rPr>
              <a:t>CONFIGURATION</a:t>
            </a:r>
          </a:p>
        </p:txBody>
      </p:sp>
      <p:sp>
        <p:nvSpPr>
          <p:cNvPr id="7" name="Rectangle: Rounded Corners 6">
            <a:extLst>
              <a:ext uri="{FF2B5EF4-FFF2-40B4-BE49-F238E27FC236}">
                <a16:creationId xmlns:a16="http://schemas.microsoft.com/office/drawing/2014/main" id="{0D5852AC-764F-23CB-2422-4D31067762C7}"/>
              </a:ext>
            </a:extLst>
          </p:cNvPr>
          <p:cNvSpPr/>
          <p:nvPr/>
        </p:nvSpPr>
        <p:spPr>
          <a:xfrm>
            <a:off x="5687487" y="1203289"/>
            <a:ext cx="5800725" cy="328735"/>
          </a:xfrm>
          <a:prstGeom prst="roundRect">
            <a:avLst/>
          </a:prstGeom>
          <a:solidFill>
            <a:srgbClr val="145164"/>
          </a:solidFill>
          <a:ln w="9525"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FFFFF"/>
                </a:solidFill>
              </a:rPr>
              <a:t>FEATURES</a:t>
            </a:r>
          </a:p>
        </p:txBody>
      </p:sp>
      <p:grpSp>
        <p:nvGrpSpPr>
          <p:cNvPr id="8" name="Group 7">
            <a:extLst>
              <a:ext uri="{FF2B5EF4-FFF2-40B4-BE49-F238E27FC236}">
                <a16:creationId xmlns:a16="http://schemas.microsoft.com/office/drawing/2014/main" id="{60C7641F-71EB-8A15-58AF-304673AE3027}"/>
              </a:ext>
            </a:extLst>
          </p:cNvPr>
          <p:cNvGrpSpPr>
            <a:grpSpLocks noChangeAspect="1"/>
          </p:cNvGrpSpPr>
          <p:nvPr/>
        </p:nvGrpSpPr>
        <p:grpSpPr>
          <a:xfrm>
            <a:off x="5192955" y="3578080"/>
            <a:ext cx="371361" cy="371361"/>
            <a:chOff x="982662" y="1847850"/>
            <a:chExt cx="269875" cy="269875"/>
          </a:xfrm>
        </p:grpSpPr>
        <p:sp>
          <p:nvSpPr>
            <p:cNvPr id="10" name="Rectangle: Rounded Corners 9">
              <a:extLst>
                <a:ext uri="{FF2B5EF4-FFF2-40B4-BE49-F238E27FC236}">
                  <a16:creationId xmlns:a16="http://schemas.microsoft.com/office/drawing/2014/main" id="{B7CA69B6-6239-7A0B-3385-39F9A5F44A16}"/>
                </a:ext>
              </a:extLst>
            </p:cNvPr>
            <p:cNvSpPr>
              <a:spLocks noChangeArrowheads="1"/>
            </p:cNvSpPr>
            <p:nvPr/>
          </p:nvSpPr>
          <p:spPr bwMode="auto">
            <a:xfrm>
              <a:off x="982662" y="1847850"/>
              <a:ext cx="269875" cy="269875"/>
            </a:xfrm>
            <a:prstGeom prst="roundRect">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5000"/>
                </a:lnSpc>
              </a:pPr>
              <a:endParaRPr lang="en-US" kern="0" dirty="0">
                <a:solidFill>
                  <a:schemeClr val="bg1"/>
                </a:solidFill>
              </a:endParaRPr>
            </a:p>
          </p:txBody>
        </p:sp>
        <p:sp>
          <p:nvSpPr>
            <p:cNvPr id="12" name="Freeform 51">
              <a:extLst>
                <a:ext uri="{FF2B5EF4-FFF2-40B4-BE49-F238E27FC236}">
                  <a16:creationId xmlns:a16="http://schemas.microsoft.com/office/drawing/2014/main" id="{EECDA41C-43D6-18DC-270D-C8254A33B87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grpSp>
      <p:sp>
        <p:nvSpPr>
          <p:cNvPr id="23" name="Rectangle 22">
            <a:extLst>
              <a:ext uri="{FF2B5EF4-FFF2-40B4-BE49-F238E27FC236}">
                <a16:creationId xmlns:a16="http://schemas.microsoft.com/office/drawing/2014/main" id="{6A1A200E-43D4-59CC-7F98-6C3C236085D2}"/>
              </a:ext>
            </a:extLst>
          </p:cNvPr>
          <p:cNvSpPr/>
          <p:nvPr/>
        </p:nvSpPr>
        <p:spPr>
          <a:xfrm>
            <a:off x="856394" y="6232844"/>
            <a:ext cx="1162091" cy="269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Accountability type </a:t>
            </a:r>
          </a:p>
        </p:txBody>
      </p:sp>
      <p:cxnSp>
        <p:nvCxnSpPr>
          <p:cNvPr id="21" name="Straight Arrow Connector 20">
            <a:extLst>
              <a:ext uri="{FF2B5EF4-FFF2-40B4-BE49-F238E27FC236}">
                <a16:creationId xmlns:a16="http://schemas.microsoft.com/office/drawing/2014/main" id="{EB06DC07-39F0-4B89-8CA3-C8614D985B42}"/>
              </a:ext>
            </a:extLst>
          </p:cNvPr>
          <p:cNvCxnSpPr>
            <a:cxnSpLocks/>
          </p:cNvCxnSpPr>
          <p:nvPr/>
        </p:nvCxnSpPr>
        <p:spPr>
          <a:xfrm>
            <a:off x="947211" y="6257320"/>
            <a:ext cx="923305" cy="0"/>
          </a:xfrm>
          <a:prstGeom prst="straightConnector1">
            <a:avLst/>
          </a:prstGeom>
          <a:ln w="19050" cap="flat" cmpd="sng" algn="ctr">
            <a:solidFill>
              <a:srgbClr val="C8C8C8"/>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0EB402B-980B-FFD3-3225-8FD1EC2E2EC1}"/>
              </a:ext>
            </a:extLst>
          </p:cNvPr>
          <p:cNvCxnSpPr>
            <a:cxnSpLocks/>
          </p:cNvCxnSpPr>
          <p:nvPr/>
        </p:nvCxnSpPr>
        <p:spPr>
          <a:xfrm>
            <a:off x="2149970" y="6257320"/>
            <a:ext cx="923304" cy="0"/>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A20B99E-4F6C-F422-F78F-DAABC3CC5F44}"/>
              </a:ext>
            </a:extLst>
          </p:cNvPr>
          <p:cNvSpPr/>
          <p:nvPr/>
        </p:nvSpPr>
        <p:spPr>
          <a:xfrm>
            <a:off x="2149969" y="6283059"/>
            <a:ext cx="923305" cy="1692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Legal </a:t>
            </a:r>
          </a:p>
        </p:txBody>
      </p:sp>
      <p:cxnSp>
        <p:nvCxnSpPr>
          <p:cNvPr id="16" name="Straight Arrow Connector 15">
            <a:extLst>
              <a:ext uri="{FF2B5EF4-FFF2-40B4-BE49-F238E27FC236}">
                <a16:creationId xmlns:a16="http://schemas.microsoft.com/office/drawing/2014/main" id="{E0D1589E-B860-3A5E-9A37-55FC35A0DD2F}"/>
              </a:ext>
            </a:extLst>
          </p:cNvPr>
          <p:cNvCxnSpPr>
            <a:cxnSpLocks/>
          </p:cNvCxnSpPr>
          <p:nvPr/>
        </p:nvCxnSpPr>
        <p:spPr>
          <a:xfrm>
            <a:off x="3194279" y="6257320"/>
            <a:ext cx="923304" cy="0"/>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9B83461-DBC3-90F3-47B8-A98944445ECC}"/>
              </a:ext>
            </a:extLst>
          </p:cNvPr>
          <p:cNvSpPr/>
          <p:nvPr/>
        </p:nvSpPr>
        <p:spPr>
          <a:xfrm>
            <a:off x="3194279" y="6283059"/>
            <a:ext cx="923305" cy="1692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Hierarchical </a:t>
            </a:r>
          </a:p>
        </p:txBody>
      </p:sp>
      <p:cxnSp>
        <p:nvCxnSpPr>
          <p:cNvPr id="38" name="Straight Arrow Connector 37">
            <a:extLst>
              <a:ext uri="{FF2B5EF4-FFF2-40B4-BE49-F238E27FC236}">
                <a16:creationId xmlns:a16="http://schemas.microsoft.com/office/drawing/2014/main" id="{45F47946-E873-3A31-5CA5-489F85E86553}"/>
              </a:ext>
            </a:extLst>
          </p:cNvPr>
          <p:cNvCxnSpPr>
            <a:cxnSpLocks/>
          </p:cNvCxnSpPr>
          <p:nvPr/>
        </p:nvCxnSpPr>
        <p:spPr>
          <a:xfrm flipH="1" flipV="1">
            <a:off x="3726604" y="2134875"/>
            <a:ext cx="520406" cy="497631"/>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8AAC5E9-38F2-D20F-15D4-D445F1E2639A}"/>
              </a:ext>
            </a:extLst>
          </p:cNvPr>
          <p:cNvSpPr txBox="1"/>
          <p:nvPr/>
        </p:nvSpPr>
        <p:spPr>
          <a:xfrm>
            <a:off x="856394" y="5987615"/>
            <a:ext cx="517555" cy="189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a:solidFill>
                  <a:srgbClr val="145164"/>
                </a:solidFill>
              </a:rPr>
              <a:t>Key </a:t>
            </a:r>
          </a:p>
        </p:txBody>
      </p:sp>
      <p:cxnSp>
        <p:nvCxnSpPr>
          <p:cNvPr id="13" name="Straight Arrow Connector 12">
            <a:extLst>
              <a:ext uri="{FF2B5EF4-FFF2-40B4-BE49-F238E27FC236}">
                <a16:creationId xmlns:a16="http://schemas.microsoft.com/office/drawing/2014/main" id="{096BCC8B-A10A-402C-06E5-52BA6008C53A}"/>
              </a:ext>
            </a:extLst>
          </p:cNvPr>
          <p:cNvCxnSpPr>
            <a:cxnSpLocks/>
          </p:cNvCxnSpPr>
          <p:nvPr/>
        </p:nvCxnSpPr>
        <p:spPr>
          <a:xfrm flipH="1" flipV="1">
            <a:off x="4315697" y="3193405"/>
            <a:ext cx="295945" cy="344489"/>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1B47DFF-092D-C1B5-F566-2D26BA2C8F79}"/>
              </a:ext>
            </a:extLst>
          </p:cNvPr>
          <p:cNvSpPr txBox="1"/>
          <p:nvPr/>
        </p:nvSpPr>
        <p:spPr>
          <a:xfrm>
            <a:off x="5709656" y="2667209"/>
            <a:ext cx="5800725" cy="32962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6000" lvl="1" algn="ctr">
              <a:buClr>
                <a:srgbClr val="145164"/>
              </a:buClr>
            </a:pPr>
            <a:r>
              <a:rPr lang="en-GB" sz="1200" i="1" dirty="0">
                <a:solidFill>
                  <a:srgbClr val="000000"/>
                </a:solidFill>
              </a:rPr>
              <a:t>Examples show jurisdictions where configuration is most evident, systems typically combine multiple approaches</a:t>
            </a:r>
          </a:p>
        </p:txBody>
      </p:sp>
      <p:sp>
        <p:nvSpPr>
          <p:cNvPr id="41" name="Rectangle: Rounded Corners 40">
            <a:extLst>
              <a:ext uri="{FF2B5EF4-FFF2-40B4-BE49-F238E27FC236}">
                <a16:creationId xmlns:a16="http://schemas.microsoft.com/office/drawing/2014/main" id="{6579FEFA-0B22-530B-9015-6C75D8BEFBCE}"/>
              </a:ext>
            </a:extLst>
          </p:cNvPr>
          <p:cNvSpPr>
            <a:spLocks/>
          </p:cNvSpPr>
          <p:nvPr/>
        </p:nvSpPr>
        <p:spPr>
          <a:xfrm>
            <a:off x="4231972" y="6117453"/>
            <a:ext cx="973295" cy="282973"/>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Active Participants</a:t>
            </a:r>
          </a:p>
        </p:txBody>
      </p:sp>
    </p:spTree>
    <p:extLst>
      <p:ext uri="{BB962C8B-B14F-4D97-AF65-F5344CB8AC3E}">
        <p14:creationId xmlns:p14="http://schemas.microsoft.com/office/powerpoint/2010/main" val="1218669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39191-9A55-2D73-2AA6-4839DB1C221E}"/>
            </a:ext>
          </a:extLst>
        </p:cNvPr>
        <p:cNvGrpSpPr/>
        <p:nvPr/>
      </p:nvGrpSpPr>
      <p:grpSpPr>
        <a:xfrm>
          <a:off x="0" y="0"/>
          <a:ext cx="0" cy="0"/>
          <a:chOff x="0" y="0"/>
          <a:chExt cx="0" cy="0"/>
        </a:xfrm>
      </p:grpSpPr>
      <p:graphicFrame>
        <p:nvGraphicFramePr>
          <p:cNvPr id="104" name="think-cell data - do not delete" hidden="1">
            <a:extLst>
              <a:ext uri="{FF2B5EF4-FFF2-40B4-BE49-F238E27FC236}">
                <a16:creationId xmlns:a16="http://schemas.microsoft.com/office/drawing/2014/main" id="{CF1E62F5-5518-765D-F564-AD00DA79DF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6" imgH="367" progId="TCLayout.ActiveDocument.1">
                  <p:embed/>
                </p:oleObj>
              </mc:Choice>
              <mc:Fallback>
                <p:oleObj name="think-cell Slide" r:id="rId4" imgW="366" imgH="367" progId="TCLayout.ActiveDocument.1">
                  <p:embed/>
                  <p:pic>
                    <p:nvPicPr>
                      <p:cNvPr id="104" name="think-cell data - do not delete" hidden="1">
                        <a:extLst>
                          <a:ext uri="{FF2B5EF4-FFF2-40B4-BE49-F238E27FC236}">
                            <a16:creationId xmlns:a16="http://schemas.microsoft.com/office/drawing/2014/main" id="{CF1E62F5-5518-765D-F564-AD00DA79DF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684AD26-FB5C-6928-0BC4-7FEDB2BCE8D2}"/>
              </a:ext>
            </a:extLst>
          </p:cNvPr>
          <p:cNvSpPr/>
          <p:nvPr/>
        </p:nvSpPr>
        <p:spPr>
          <a:xfrm>
            <a:off x="630000" y="1007245"/>
            <a:ext cx="4723236" cy="5513033"/>
          </a:xfrm>
          <a:prstGeom prst="rect">
            <a:avLst/>
          </a:prstGeom>
          <a:solidFill>
            <a:srgbClr val="FFFFFF"/>
          </a:solidFill>
          <a:ln w="28575" cap="rnd" cmpd="sng" algn="ctr">
            <a:solidFill>
              <a:srgbClr val="145164"/>
            </a:solidFill>
            <a:prstDash val="solid"/>
            <a:round/>
            <a:headEnd type="none" w="med" len="med"/>
            <a:tailEnd type="none" w="med" len="med"/>
          </a:ln>
          <a:effectLst>
            <a:outerShdw blurRad="25400" dist="12700" dir="54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a:extLst>
              <a:ext uri="{FF2B5EF4-FFF2-40B4-BE49-F238E27FC236}">
                <a16:creationId xmlns:a16="http://schemas.microsoft.com/office/drawing/2014/main" id="{1E214AD9-9A30-B444-B1C5-9090BC4B1EF4}"/>
              </a:ext>
            </a:extLst>
          </p:cNvPr>
          <p:cNvSpPr/>
          <p:nvPr/>
        </p:nvSpPr>
        <p:spPr>
          <a:xfrm>
            <a:off x="5353236" y="1127093"/>
            <a:ext cx="6210115" cy="5273336"/>
          </a:xfrm>
          <a:prstGeom prst="rect">
            <a:avLst/>
          </a:prstGeom>
          <a:solidFill>
            <a:srgbClr val="FFFFFF"/>
          </a:solidFill>
          <a:ln w="28575" cap="rnd" cmpd="sng" algn="ctr">
            <a:solidFill>
              <a:srgbClr val="145164"/>
            </a:solidFill>
            <a:prstDash val="solid"/>
            <a:round/>
            <a:headEnd type="none" w="med" len="med"/>
            <a:tailEnd type="none" w="med" len="med"/>
          </a:ln>
          <a:effectLst>
            <a:outerShdw blurRad="25400" dist="12700" dir="54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11830889-5BD8-3557-65A5-093DA1AF538E}"/>
              </a:ext>
            </a:extLst>
          </p:cNvPr>
          <p:cNvSpPr>
            <a:spLocks noGrp="1"/>
          </p:cNvSpPr>
          <p:nvPr>
            <p:ph type="title"/>
          </p:nvPr>
        </p:nvSpPr>
        <p:spPr>
          <a:xfrm>
            <a:off x="628650" y="190022"/>
            <a:ext cx="9300653" cy="625231"/>
          </a:xfrm>
        </p:spPr>
        <p:txBody>
          <a:bodyPr vert="horz"/>
          <a:lstStyle/>
          <a:p>
            <a:r>
              <a:rPr lang="en-US" dirty="0">
                <a:solidFill>
                  <a:srgbClr val="10C4C8"/>
                </a:solidFill>
              </a:rPr>
              <a:t>Alternative approaches to accountability |</a:t>
            </a:r>
            <a:r>
              <a:rPr lang="en-GB" dirty="0">
                <a:solidFill>
                  <a:srgbClr val="10C4C8"/>
                </a:solidFill>
              </a:rPr>
              <a:t> </a:t>
            </a:r>
            <a:r>
              <a:rPr lang="en-GB" dirty="0"/>
              <a:t>‘Polycentric accountability’ </a:t>
            </a:r>
            <a:br>
              <a:rPr lang="en-GB" dirty="0"/>
            </a:br>
            <a:endParaRPr lang="en-US" dirty="0"/>
          </a:p>
        </p:txBody>
      </p:sp>
      <p:cxnSp>
        <p:nvCxnSpPr>
          <p:cNvPr id="157" name="Straight Connector 156">
            <a:extLst>
              <a:ext uri="{FF2B5EF4-FFF2-40B4-BE49-F238E27FC236}">
                <a16:creationId xmlns:a16="http://schemas.microsoft.com/office/drawing/2014/main" id="{33BFCAD2-0060-7640-E53D-F70796784848}"/>
              </a:ext>
            </a:extLst>
          </p:cNvPr>
          <p:cNvCxnSpPr/>
          <p:nvPr/>
        </p:nvCxnSpPr>
        <p:spPr>
          <a:xfrm flipV="1">
            <a:off x="5973905" y="3178394"/>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ED8DDD23-9DB6-4122-D5CE-496E0E68AD33}"/>
              </a:ext>
            </a:extLst>
          </p:cNvPr>
          <p:cNvCxnSpPr/>
          <p:nvPr/>
        </p:nvCxnSpPr>
        <p:spPr>
          <a:xfrm flipV="1">
            <a:off x="5973905" y="4617395"/>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98C1579A-EA39-A87D-0621-5D85E4346D50}"/>
              </a:ext>
            </a:extLst>
          </p:cNvPr>
          <p:cNvCxnSpPr/>
          <p:nvPr/>
        </p:nvCxnSpPr>
        <p:spPr>
          <a:xfrm flipV="1">
            <a:off x="5973905" y="5625510"/>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3F9316C7-7E7B-64DF-E954-7E33355AED7B}"/>
              </a:ext>
            </a:extLst>
          </p:cNvPr>
          <p:cNvCxnSpPr/>
          <p:nvPr/>
        </p:nvCxnSpPr>
        <p:spPr>
          <a:xfrm flipV="1">
            <a:off x="5973905" y="1739392"/>
            <a:ext cx="5273387" cy="0"/>
          </a:xfrm>
          <a:prstGeom prst="line">
            <a:avLst/>
          </a:prstGeom>
          <a:ln w="9525" cap="rnd" cmpd="sng" algn="ctr">
            <a:solidFill>
              <a:srgbClr val="145164"/>
            </a:solidFill>
            <a:prstDash val="sysDot"/>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67">
            <a:extLst>
              <a:ext uri="{FF2B5EF4-FFF2-40B4-BE49-F238E27FC236}">
                <a16:creationId xmlns:a16="http://schemas.microsoft.com/office/drawing/2014/main" id="{BFF04EA0-5BFC-40F6-A2C1-C7AF053C7F22}"/>
              </a:ext>
            </a:extLst>
          </p:cNvPr>
          <p:cNvSpPr txBox="1"/>
          <p:nvPr/>
        </p:nvSpPr>
        <p:spPr>
          <a:xfrm>
            <a:off x="5707441" y="4710868"/>
            <a:ext cx="5800725" cy="873287"/>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78000" lvl="1" indent="-252000" fontAlgn="base">
              <a:buClr>
                <a:srgbClr val="145164"/>
              </a:buClr>
              <a:buFont typeface="Trebuchet MS" panose="020B0603020202020204" pitchFamily="34" charset="0"/>
              <a:buChar char="•"/>
            </a:pPr>
            <a:r>
              <a:rPr lang="en-GB" sz="1400" dirty="0">
                <a:solidFill>
                  <a:srgbClr val="145164"/>
                </a:solidFill>
              </a:rPr>
              <a:t>Inputs</a:t>
            </a:r>
            <a:r>
              <a:rPr lang="en-GB" sz="1400" dirty="0">
                <a:solidFill>
                  <a:srgbClr val="000000"/>
                </a:solidFill>
              </a:rPr>
              <a:t>:  Contract/regulatory compliance</a:t>
            </a:r>
          </a:p>
          <a:p>
            <a:pPr marL="378000" lvl="1" indent="-252000" fontAlgn="base">
              <a:buClr>
                <a:srgbClr val="145164"/>
              </a:buClr>
              <a:buFont typeface="Trebuchet MS" panose="020B0603020202020204" pitchFamily="34" charset="0"/>
              <a:buChar char="•"/>
            </a:pPr>
            <a:r>
              <a:rPr lang="en-GB" sz="1400" dirty="0">
                <a:solidFill>
                  <a:srgbClr val="145164"/>
                </a:solidFill>
              </a:rPr>
              <a:t>Process:</a:t>
            </a:r>
            <a:r>
              <a:rPr lang="en-GB" sz="1400" dirty="0">
                <a:solidFill>
                  <a:srgbClr val="000000"/>
                </a:solidFill>
              </a:rPr>
              <a:t> Inspection grades</a:t>
            </a:r>
          </a:p>
          <a:p>
            <a:pPr marL="378000" lvl="1" indent="-252000" fontAlgn="base">
              <a:buClr>
                <a:srgbClr val="145164"/>
              </a:buClr>
              <a:buFont typeface="Trebuchet MS" panose="020B0603020202020204" pitchFamily="34" charset="0"/>
              <a:buChar char="•"/>
            </a:pPr>
            <a:r>
              <a:rPr lang="en-GB" sz="1400" dirty="0">
                <a:solidFill>
                  <a:srgbClr val="145164"/>
                </a:solidFill>
              </a:rPr>
              <a:t>Outcomes</a:t>
            </a:r>
            <a:r>
              <a:rPr lang="en-GB" sz="1400" dirty="0">
                <a:solidFill>
                  <a:srgbClr val="000000"/>
                </a:solidFill>
              </a:rPr>
              <a:t>: </a:t>
            </a:r>
            <a:r>
              <a:rPr lang="en-US" altLang="en-US" sz="1400" dirty="0">
                <a:solidFill>
                  <a:srgbClr val="000000"/>
                </a:solidFill>
              </a:rPr>
              <a:t>Pupil attainment in </a:t>
            </a:r>
            <a:r>
              <a:rPr lang="en-GB" sz="1400" dirty="0">
                <a:solidFill>
                  <a:srgbClr val="000000"/>
                </a:solidFill>
              </a:rPr>
              <a:t>standardised</a:t>
            </a:r>
            <a:r>
              <a:rPr lang="en-US" altLang="en-US" sz="1400" dirty="0">
                <a:solidFill>
                  <a:srgbClr val="000000"/>
                </a:solidFill>
              </a:rPr>
              <a:t> assessments</a:t>
            </a:r>
          </a:p>
        </p:txBody>
      </p:sp>
      <p:sp>
        <p:nvSpPr>
          <p:cNvPr id="117" name="TextBox 116">
            <a:extLst>
              <a:ext uri="{FF2B5EF4-FFF2-40B4-BE49-F238E27FC236}">
                <a16:creationId xmlns:a16="http://schemas.microsoft.com/office/drawing/2014/main" id="{8647612B-61B6-D65E-CD5C-728EBFA10930}"/>
              </a:ext>
            </a:extLst>
          </p:cNvPr>
          <p:cNvSpPr txBox="1"/>
          <p:nvPr/>
        </p:nvSpPr>
        <p:spPr>
          <a:xfrm>
            <a:off x="5687487" y="1603184"/>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400" dirty="0">
                <a:solidFill>
                  <a:srgbClr val="145164"/>
                </a:solidFill>
              </a:rPr>
              <a:t>Country examples </a:t>
            </a:r>
            <a:r>
              <a:rPr lang="en-US" sz="1200" i="1" dirty="0">
                <a:solidFill>
                  <a:srgbClr val="145164"/>
                </a:solidFill>
              </a:rPr>
              <a:t>(Non-exhaustive)</a:t>
            </a:r>
            <a:endParaRPr lang="en-US" sz="1400" i="1" dirty="0">
              <a:solidFill>
                <a:srgbClr val="145164"/>
              </a:solidFill>
            </a:endParaRPr>
          </a:p>
        </p:txBody>
      </p:sp>
      <p:sp>
        <p:nvSpPr>
          <p:cNvPr id="24" name="TextBox 139">
            <a:extLst>
              <a:ext uri="{FF2B5EF4-FFF2-40B4-BE49-F238E27FC236}">
                <a16:creationId xmlns:a16="http://schemas.microsoft.com/office/drawing/2014/main" id="{07C72907-6C81-4888-8561-54254472095F}"/>
              </a:ext>
            </a:extLst>
          </p:cNvPr>
          <p:cNvSpPr txBox="1"/>
          <p:nvPr/>
        </p:nvSpPr>
        <p:spPr>
          <a:xfrm>
            <a:off x="5710238" y="5806401"/>
            <a:ext cx="5800725"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78000" lvl="1" indent="-252000" fontAlgn="base">
              <a:buClr>
                <a:srgbClr val="145164"/>
              </a:buClr>
              <a:buFont typeface="Trebuchet MS" panose="020B0603020202020204" pitchFamily="34" charset="0"/>
              <a:buChar char="•"/>
            </a:pPr>
            <a:r>
              <a:rPr lang="en-US" sz="1400" dirty="0">
                <a:solidFill>
                  <a:srgbClr val="000000"/>
                </a:solidFill>
              </a:rPr>
              <a:t>Support provisions (from a school proprietor or operator, not the state)</a:t>
            </a:r>
          </a:p>
          <a:p>
            <a:pPr marL="378000" lvl="1" indent="-252000" fontAlgn="base">
              <a:buClr>
                <a:srgbClr val="145164"/>
              </a:buClr>
              <a:buFont typeface="Trebuchet MS" panose="020B0603020202020204" pitchFamily="34" charset="0"/>
              <a:buChar char="•"/>
            </a:pPr>
            <a:r>
              <a:rPr lang="en-US" sz="1400" dirty="0">
                <a:solidFill>
                  <a:srgbClr val="000000"/>
                </a:solidFill>
              </a:rPr>
              <a:t>Contract based consequences </a:t>
            </a:r>
            <a:r>
              <a:rPr lang="en-US" sz="1400" dirty="0" err="1">
                <a:solidFill>
                  <a:srgbClr val="000000"/>
                </a:solidFill>
              </a:rPr>
              <a:t>e.g</a:t>
            </a:r>
            <a:r>
              <a:rPr lang="en-US" sz="1400" dirty="0">
                <a:solidFill>
                  <a:srgbClr val="000000"/>
                </a:solidFill>
              </a:rPr>
              <a:t> terminating funding or </a:t>
            </a:r>
            <a:r>
              <a:rPr lang="en-US" sz="1400" dirty="0" err="1">
                <a:solidFill>
                  <a:srgbClr val="000000"/>
                </a:solidFill>
              </a:rPr>
              <a:t>licences</a:t>
            </a:r>
            <a:r>
              <a:rPr lang="en-US" sz="1400" dirty="0">
                <a:solidFill>
                  <a:srgbClr val="000000"/>
                </a:solidFill>
              </a:rPr>
              <a:t> </a:t>
            </a:r>
          </a:p>
        </p:txBody>
      </p:sp>
      <p:sp>
        <p:nvSpPr>
          <p:cNvPr id="120" name="TextBox 119">
            <a:extLst>
              <a:ext uri="{FF2B5EF4-FFF2-40B4-BE49-F238E27FC236}">
                <a16:creationId xmlns:a16="http://schemas.microsoft.com/office/drawing/2014/main" id="{601430AB-836A-637F-E5F9-1CC4D24F9291}"/>
              </a:ext>
            </a:extLst>
          </p:cNvPr>
          <p:cNvSpPr txBox="1"/>
          <p:nvPr/>
        </p:nvSpPr>
        <p:spPr>
          <a:xfrm>
            <a:off x="5687487" y="4481188"/>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Quality measures </a:t>
            </a:r>
            <a:r>
              <a:rPr lang="en-US" sz="1200" i="1" dirty="0">
                <a:solidFill>
                  <a:srgbClr val="145164"/>
                </a:solidFill>
              </a:rPr>
              <a:t>(Non-exhaustive)</a:t>
            </a:r>
            <a:endParaRPr lang="en-US" sz="1600" dirty="0">
              <a:solidFill>
                <a:srgbClr val="145164"/>
              </a:solidFill>
            </a:endParaRPr>
          </a:p>
        </p:txBody>
      </p:sp>
      <p:sp>
        <p:nvSpPr>
          <p:cNvPr id="121" name="TextBox 120">
            <a:extLst>
              <a:ext uri="{FF2B5EF4-FFF2-40B4-BE49-F238E27FC236}">
                <a16:creationId xmlns:a16="http://schemas.microsoft.com/office/drawing/2014/main" id="{2BD06A7D-2952-6E6B-2380-9F122641EE2B}"/>
              </a:ext>
            </a:extLst>
          </p:cNvPr>
          <p:cNvSpPr txBox="1"/>
          <p:nvPr/>
        </p:nvSpPr>
        <p:spPr>
          <a:xfrm>
            <a:off x="5687487" y="5489303"/>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Consequences </a:t>
            </a:r>
            <a:r>
              <a:rPr lang="en-US" sz="1200" i="1" dirty="0">
                <a:solidFill>
                  <a:srgbClr val="145164"/>
                </a:solidFill>
              </a:rPr>
              <a:t>(Non-exhaustive)</a:t>
            </a:r>
            <a:r>
              <a:rPr lang="en-US" sz="1200" dirty="0">
                <a:solidFill>
                  <a:srgbClr val="145164"/>
                </a:solidFill>
              </a:rPr>
              <a:t> </a:t>
            </a:r>
            <a:endParaRPr lang="en-US" sz="1600" dirty="0">
              <a:solidFill>
                <a:srgbClr val="145164"/>
              </a:solidFill>
            </a:endParaRPr>
          </a:p>
        </p:txBody>
      </p:sp>
      <p:sp>
        <p:nvSpPr>
          <p:cNvPr id="25" name="TextBox 121">
            <a:extLst>
              <a:ext uri="{FF2B5EF4-FFF2-40B4-BE49-F238E27FC236}">
                <a16:creationId xmlns:a16="http://schemas.microsoft.com/office/drawing/2014/main" id="{D46C5838-84E2-47C4-A31F-43451074094B}"/>
              </a:ext>
            </a:extLst>
          </p:cNvPr>
          <p:cNvSpPr txBox="1"/>
          <p:nvPr/>
        </p:nvSpPr>
        <p:spPr>
          <a:xfrm>
            <a:off x="5710237" y="3359285"/>
            <a:ext cx="5800725" cy="10772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78000" lvl="1" indent="-252000">
              <a:buClr>
                <a:srgbClr val="145164"/>
              </a:buClr>
              <a:buFont typeface="Trebuchet MS" panose="020B0603020202020204" pitchFamily="34" charset="0"/>
              <a:buChar char="•"/>
            </a:pPr>
            <a:r>
              <a:rPr lang="en-US" sz="1400" dirty="0">
                <a:solidFill>
                  <a:srgbClr val="000000"/>
                </a:solidFill>
              </a:rPr>
              <a:t>Often seen in </a:t>
            </a:r>
            <a:r>
              <a:rPr lang="en-US" sz="1400" dirty="0">
                <a:solidFill>
                  <a:srgbClr val="145164"/>
                </a:solidFill>
              </a:rPr>
              <a:t>systems with low </a:t>
            </a:r>
            <a:r>
              <a:rPr lang="en-GB" sz="1400" noProof="0" dirty="0">
                <a:solidFill>
                  <a:srgbClr val="145164"/>
                </a:solidFill>
              </a:rPr>
              <a:t>centralisation</a:t>
            </a:r>
            <a:r>
              <a:rPr lang="en-US" sz="1400" dirty="0">
                <a:solidFill>
                  <a:srgbClr val="145164"/>
                </a:solidFill>
              </a:rPr>
              <a:t> </a:t>
            </a:r>
            <a:r>
              <a:rPr lang="en-US" sz="1400" dirty="0">
                <a:solidFill>
                  <a:srgbClr val="000000"/>
                </a:solidFill>
              </a:rPr>
              <a:t>(Ontario, Netherlands) </a:t>
            </a:r>
          </a:p>
          <a:p>
            <a:pPr marL="378000" lvl="1" indent="-252000">
              <a:buClr>
                <a:srgbClr val="145164"/>
              </a:buClr>
              <a:buFont typeface="Trebuchet MS" panose="020B0603020202020204" pitchFamily="34" charset="0"/>
              <a:buChar char="•"/>
            </a:pPr>
            <a:r>
              <a:rPr lang="en-US" sz="1400" dirty="0">
                <a:solidFill>
                  <a:srgbClr val="000000"/>
                </a:solidFill>
              </a:rPr>
              <a:t>Associated with New Public Management</a:t>
            </a:r>
            <a:r>
              <a:rPr lang="en-US" sz="1400" baseline="30000" dirty="0">
                <a:solidFill>
                  <a:srgbClr val="000000"/>
                </a:solidFill>
              </a:rPr>
              <a:t>1</a:t>
            </a:r>
            <a:r>
              <a:rPr lang="en-US" sz="1400" dirty="0">
                <a:solidFill>
                  <a:srgbClr val="000000"/>
                </a:solidFill>
              </a:rPr>
              <a:t> (NPM) models which:</a:t>
            </a:r>
          </a:p>
          <a:p>
            <a:pPr marL="756000" lvl="2" indent="-252000">
              <a:buClr>
                <a:srgbClr val="145164"/>
              </a:buClr>
              <a:buFont typeface="Aptos" panose="020B0004020202020204" pitchFamily="34" charset="0"/>
              <a:buChar char="–"/>
            </a:pPr>
            <a:r>
              <a:rPr lang="en-US" sz="1400" i="1" dirty="0">
                <a:solidFill>
                  <a:srgbClr val="145164"/>
                </a:solidFill>
              </a:rPr>
              <a:t>Intended </a:t>
            </a:r>
            <a:r>
              <a:rPr lang="en-US" sz="1400" dirty="0">
                <a:solidFill>
                  <a:srgbClr val="145164"/>
                </a:solidFill>
              </a:rPr>
              <a:t>to encourage innovation and autonomy</a:t>
            </a:r>
          </a:p>
          <a:p>
            <a:pPr marL="756000" lvl="2" indent="-252000">
              <a:buClr>
                <a:srgbClr val="145164"/>
              </a:buClr>
              <a:buFont typeface="Aptos" panose="020B0004020202020204" pitchFamily="34" charset="0"/>
              <a:buChar char="–"/>
            </a:pPr>
            <a:r>
              <a:rPr lang="en-US" sz="1400" dirty="0">
                <a:solidFill>
                  <a:srgbClr val="145164"/>
                </a:solidFill>
              </a:rPr>
              <a:t>Introduces market-style mechanisms </a:t>
            </a:r>
            <a:r>
              <a:rPr lang="en-US" sz="1400" dirty="0">
                <a:solidFill>
                  <a:srgbClr val="000000"/>
                </a:solidFill>
              </a:rPr>
              <a:t>like performance targets, competition, and choice</a:t>
            </a:r>
          </a:p>
        </p:txBody>
      </p:sp>
      <p:sp>
        <p:nvSpPr>
          <p:cNvPr id="123" name="TextBox 122">
            <a:extLst>
              <a:ext uri="{FF2B5EF4-FFF2-40B4-BE49-F238E27FC236}">
                <a16:creationId xmlns:a16="http://schemas.microsoft.com/office/drawing/2014/main" id="{6DD86872-5363-0928-6507-33EDF455862A}"/>
              </a:ext>
            </a:extLst>
          </p:cNvPr>
          <p:cNvSpPr txBox="1"/>
          <p:nvPr/>
        </p:nvSpPr>
        <p:spPr>
          <a:xfrm>
            <a:off x="5687487" y="3042186"/>
            <a:ext cx="5800725" cy="272415"/>
          </a:xfrm>
          <a:prstGeom prst="roundRect">
            <a:avLst/>
          </a:prstGeom>
          <a:solidFill>
            <a:schemeClr val="tx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algn="ctr">
              <a:buClr>
                <a:srgbClr val="145164"/>
              </a:buClr>
            </a:pPr>
            <a:r>
              <a:rPr lang="en-US" sz="1600" dirty="0">
                <a:solidFill>
                  <a:srgbClr val="145164"/>
                </a:solidFill>
              </a:rPr>
              <a:t>Typical characteristics </a:t>
            </a:r>
          </a:p>
        </p:txBody>
      </p:sp>
      <p:sp>
        <p:nvSpPr>
          <p:cNvPr id="125" name="flag_label">
            <a:extLst>
              <a:ext uri="{FF2B5EF4-FFF2-40B4-BE49-F238E27FC236}">
                <a16:creationId xmlns:a16="http://schemas.microsoft.com/office/drawing/2014/main" id="{48F05D1C-5FBF-70AF-7C96-7E0B15E26001}"/>
              </a:ext>
            </a:extLst>
          </p:cNvPr>
          <p:cNvSpPr>
            <a:spLocks noChangeArrowheads="1"/>
          </p:cNvSpPr>
          <p:nvPr/>
        </p:nvSpPr>
        <p:spPr bwMode="gray">
          <a:xfrm>
            <a:off x="6642833" y="2420331"/>
            <a:ext cx="834238" cy="215444"/>
          </a:xfrm>
          <a:prstGeom prst="rect">
            <a:avLst/>
          </a:prstGeom>
          <a:noFill/>
          <a:ln w="9525" algn="ctr">
            <a:noFill/>
            <a:miter lim="800000"/>
            <a:headEnd type="none" w="lg" len="lg"/>
            <a:tailEnd type="none" w="lg" len="lg"/>
          </a:ln>
        </p:spPr>
        <p:txBody>
          <a:bodyPr wrap="none" lIns="0" tIns="0" rIns="0" bIns="0">
            <a:noAutofit/>
          </a:bodyPr>
          <a:lstStyle/>
          <a:p>
            <a:pPr algn="ctr"/>
            <a:r>
              <a:rPr lang="en-US" sz="1400" dirty="0">
                <a:solidFill>
                  <a:srgbClr val="000000"/>
                </a:solidFill>
                <a:cs typeface="Arial" pitchFamily="34" charset="0"/>
                <a:sym typeface="Trebuchet MS" panose="020B0603020202020204" pitchFamily="34" charset="0"/>
              </a:rPr>
              <a:t>England</a:t>
            </a:r>
          </a:p>
        </p:txBody>
      </p:sp>
      <p:pic>
        <p:nvPicPr>
          <p:cNvPr id="27" name="Picture 26">
            <a:extLst>
              <a:ext uri="{FF2B5EF4-FFF2-40B4-BE49-F238E27FC236}">
                <a16:creationId xmlns:a16="http://schemas.microsoft.com/office/drawing/2014/main" id="{4D00A2C6-F877-4D54-BE94-12B1CD27DB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37951" y="2015023"/>
            <a:ext cx="644003" cy="386401"/>
          </a:xfrm>
          <a:prstGeom prst="rect">
            <a:avLst/>
          </a:prstGeom>
          <a:noFill/>
          <a:ln w="13335" cap="flat" cmpd="sng" algn="ctr">
            <a:solidFill>
              <a:srgbClr val="C8C8C8"/>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128" name="flag_label">
            <a:extLst>
              <a:ext uri="{FF2B5EF4-FFF2-40B4-BE49-F238E27FC236}">
                <a16:creationId xmlns:a16="http://schemas.microsoft.com/office/drawing/2014/main" id="{4192104C-95A2-8B21-11A9-DCC411CD534C}"/>
              </a:ext>
            </a:extLst>
          </p:cNvPr>
          <p:cNvSpPr>
            <a:spLocks noChangeArrowheads="1"/>
          </p:cNvSpPr>
          <p:nvPr/>
        </p:nvSpPr>
        <p:spPr bwMode="gray">
          <a:xfrm>
            <a:off x="7920149" y="2420331"/>
            <a:ext cx="1279196"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The Netherlands</a:t>
            </a:r>
          </a:p>
        </p:txBody>
      </p:sp>
      <p:pic>
        <p:nvPicPr>
          <p:cNvPr id="29" name="flag_netherlands">
            <a:extLst>
              <a:ext uri="{FF2B5EF4-FFF2-40B4-BE49-F238E27FC236}">
                <a16:creationId xmlns:a16="http://schemas.microsoft.com/office/drawing/2014/main" id="{CD02B2BB-1091-41C0-AA26-3747F8333508}"/>
              </a:ext>
            </a:extLst>
          </p:cNvPr>
          <p:cNvPicPr>
            <a:picLocks noChangeAspect="1" noChangeArrowheads="1"/>
          </p:cNvPicPr>
          <p:nvPr/>
        </p:nvPicPr>
        <p:blipFill>
          <a:blip r:embed="rId7"/>
          <a:srcRect/>
          <a:stretch>
            <a:fillRect/>
          </a:stretch>
        </p:blipFill>
        <p:spPr bwMode="auto">
          <a:xfrm>
            <a:off x="8269765" y="2015023"/>
            <a:ext cx="579965" cy="386401"/>
          </a:xfrm>
          <a:prstGeom prst="rect">
            <a:avLst/>
          </a:prstGeom>
          <a:noFill/>
          <a:ln w="3175">
            <a:noFill/>
          </a:ln>
        </p:spPr>
      </p:pic>
      <p:sp>
        <p:nvSpPr>
          <p:cNvPr id="131" name="flag_label">
            <a:extLst>
              <a:ext uri="{FF2B5EF4-FFF2-40B4-BE49-F238E27FC236}">
                <a16:creationId xmlns:a16="http://schemas.microsoft.com/office/drawing/2014/main" id="{0696316C-3DBE-763A-429B-AB810A5C3DC9}"/>
              </a:ext>
            </a:extLst>
          </p:cNvPr>
          <p:cNvSpPr>
            <a:spLocks noChangeArrowheads="1"/>
          </p:cNvSpPr>
          <p:nvPr/>
        </p:nvSpPr>
        <p:spPr bwMode="gray">
          <a:xfrm>
            <a:off x="9642423" y="2420331"/>
            <a:ext cx="1343549" cy="215444"/>
          </a:xfrm>
          <a:prstGeom prst="rect">
            <a:avLst/>
          </a:prstGeom>
          <a:noFill/>
          <a:ln w="9525" algn="ctr">
            <a:noFill/>
            <a:miter lim="800000"/>
            <a:headEnd type="none" w="lg" len="lg"/>
            <a:tailEnd type="none" w="lg" len="lg"/>
          </a:ln>
        </p:spPr>
        <p:txBody>
          <a:bodyPr wrap="none" lIns="0" tIns="0" rIns="0" bIns="0">
            <a:spAutoFit/>
          </a:bodyPr>
          <a:lstStyle/>
          <a:p>
            <a:pPr algn="ctr"/>
            <a:r>
              <a:rPr lang="en-US" sz="1400" dirty="0">
                <a:solidFill>
                  <a:srgbClr val="000000"/>
                </a:solidFill>
                <a:cs typeface="Arial" pitchFamily="34" charset="0"/>
                <a:sym typeface="Trebuchet MS" panose="020B0603020202020204" pitchFamily="34" charset="0"/>
              </a:rPr>
              <a:t>Ontario</a:t>
            </a:r>
          </a:p>
        </p:txBody>
      </p:sp>
      <p:pic>
        <p:nvPicPr>
          <p:cNvPr id="31" name="Picture 30">
            <a:extLst>
              <a:ext uri="{FF2B5EF4-FFF2-40B4-BE49-F238E27FC236}">
                <a16:creationId xmlns:a16="http://schemas.microsoft.com/office/drawing/2014/main" id="{5B443F0B-8E45-4F1E-8943-A776FED8BEB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29303" y="2015023"/>
            <a:ext cx="769787" cy="38640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6AA3AABB-AFC4-97CA-0652-7B0CDEC81D86}"/>
              </a:ext>
            </a:extLst>
          </p:cNvPr>
          <p:cNvSpPr/>
          <p:nvPr/>
        </p:nvSpPr>
        <p:spPr>
          <a:xfrm>
            <a:off x="786235" y="1203289"/>
            <a:ext cx="4362955" cy="328735"/>
          </a:xfrm>
          <a:prstGeom prst="roundRect">
            <a:avLst/>
          </a:prstGeom>
          <a:solidFill>
            <a:srgbClr val="145164"/>
          </a:solidFill>
          <a:ln w="9525"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FFFFF"/>
                </a:solidFill>
              </a:rPr>
              <a:t>CONFIGURATION</a:t>
            </a:r>
          </a:p>
        </p:txBody>
      </p:sp>
      <p:sp>
        <p:nvSpPr>
          <p:cNvPr id="7" name="Rectangle: Rounded Corners 6">
            <a:extLst>
              <a:ext uri="{FF2B5EF4-FFF2-40B4-BE49-F238E27FC236}">
                <a16:creationId xmlns:a16="http://schemas.microsoft.com/office/drawing/2014/main" id="{A3E8CC8F-4DD2-9BC0-7B80-1E89D75A76CB}"/>
              </a:ext>
            </a:extLst>
          </p:cNvPr>
          <p:cNvSpPr/>
          <p:nvPr/>
        </p:nvSpPr>
        <p:spPr>
          <a:xfrm>
            <a:off x="5687487" y="1203289"/>
            <a:ext cx="5800725" cy="328735"/>
          </a:xfrm>
          <a:prstGeom prst="roundRect">
            <a:avLst/>
          </a:prstGeom>
          <a:solidFill>
            <a:srgbClr val="145164"/>
          </a:solidFill>
          <a:ln w="9525" cap="rnd" cmpd="sng" algn="ctr">
            <a:solidFill>
              <a:srgbClr val="1451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rgbClr val="FFFFFF"/>
                </a:solidFill>
              </a:rPr>
              <a:t>FEATURES</a:t>
            </a:r>
          </a:p>
        </p:txBody>
      </p:sp>
      <p:grpSp>
        <p:nvGrpSpPr>
          <p:cNvPr id="8" name="Group 7">
            <a:extLst>
              <a:ext uri="{FF2B5EF4-FFF2-40B4-BE49-F238E27FC236}">
                <a16:creationId xmlns:a16="http://schemas.microsoft.com/office/drawing/2014/main" id="{AC05D408-E89C-3976-7A37-20C9C80D70FB}"/>
              </a:ext>
            </a:extLst>
          </p:cNvPr>
          <p:cNvGrpSpPr>
            <a:grpSpLocks noChangeAspect="1"/>
          </p:cNvGrpSpPr>
          <p:nvPr/>
        </p:nvGrpSpPr>
        <p:grpSpPr>
          <a:xfrm>
            <a:off x="5192955" y="3578080"/>
            <a:ext cx="371361" cy="371361"/>
            <a:chOff x="982662" y="1847850"/>
            <a:chExt cx="269875" cy="269875"/>
          </a:xfrm>
        </p:grpSpPr>
        <p:sp>
          <p:nvSpPr>
            <p:cNvPr id="10" name="Rectangle: Rounded Corners 9">
              <a:extLst>
                <a:ext uri="{FF2B5EF4-FFF2-40B4-BE49-F238E27FC236}">
                  <a16:creationId xmlns:a16="http://schemas.microsoft.com/office/drawing/2014/main" id="{CBAF1D52-7747-A2F5-92B3-7539013285D4}"/>
                </a:ext>
              </a:extLst>
            </p:cNvPr>
            <p:cNvSpPr>
              <a:spLocks noChangeArrowheads="1"/>
            </p:cNvSpPr>
            <p:nvPr/>
          </p:nvSpPr>
          <p:spPr bwMode="auto">
            <a:xfrm>
              <a:off x="982662" y="1847850"/>
              <a:ext cx="269875" cy="269875"/>
            </a:xfrm>
            <a:prstGeom prst="roundRect">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5000"/>
                </a:lnSpc>
              </a:pPr>
              <a:endParaRPr lang="en-US" kern="0" dirty="0">
                <a:solidFill>
                  <a:schemeClr val="bg1"/>
                </a:solidFill>
              </a:endParaRPr>
            </a:p>
          </p:txBody>
        </p:sp>
        <p:sp>
          <p:nvSpPr>
            <p:cNvPr id="12" name="Freeform 51">
              <a:extLst>
                <a:ext uri="{FF2B5EF4-FFF2-40B4-BE49-F238E27FC236}">
                  <a16:creationId xmlns:a16="http://schemas.microsoft.com/office/drawing/2014/main" id="{AD727236-68F5-2BBD-DD53-78256FCDD9B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grpSp>
      <p:sp>
        <p:nvSpPr>
          <p:cNvPr id="23" name="Rectangle 22">
            <a:extLst>
              <a:ext uri="{FF2B5EF4-FFF2-40B4-BE49-F238E27FC236}">
                <a16:creationId xmlns:a16="http://schemas.microsoft.com/office/drawing/2014/main" id="{8D0555E3-E00D-ECFA-C9D0-835B65AA0B00}"/>
              </a:ext>
            </a:extLst>
          </p:cNvPr>
          <p:cNvSpPr/>
          <p:nvPr/>
        </p:nvSpPr>
        <p:spPr>
          <a:xfrm>
            <a:off x="856394" y="6232844"/>
            <a:ext cx="1162091" cy="269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Accountability type </a:t>
            </a:r>
          </a:p>
        </p:txBody>
      </p:sp>
      <p:cxnSp>
        <p:nvCxnSpPr>
          <p:cNvPr id="21" name="Straight Arrow Connector 20">
            <a:extLst>
              <a:ext uri="{FF2B5EF4-FFF2-40B4-BE49-F238E27FC236}">
                <a16:creationId xmlns:a16="http://schemas.microsoft.com/office/drawing/2014/main" id="{58AD4303-9A24-56D3-22F2-7FF114A4C328}"/>
              </a:ext>
            </a:extLst>
          </p:cNvPr>
          <p:cNvCxnSpPr>
            <a:cxnSpLocks/>
          </p:cNvCxnSpPr>
          <p:nvPr/>
        </p:nvCxnSpPr>
        <p:spPr>
          <a:xfrm>
            <a:off x="947211" y="6257320"/>
            <a:ext cx="923305" cy="0"/>
          </a:xfrm>
          <a:prstGeom prst="straightConnector1">
            <a:avLst/>
          </a:prstGeom>
          <a:ln w="19050" cap="flat" cmpd="sng" algn="ctr">
            <a:solidFill>
              <a:srgbClr val="C8C8C8"/>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28FAE3E-96AD-0A14-69E8-8EC9962E1853}"/>
              </a:ext>
            </a:extLst>
          </p:cNvPr>
          <p:cNvCxnSpPr>
            <a:cxnSpLocks/>
          </p:cNvCxnSpPr>
          <p:nvPr/>
        </p:nvCxnSpPr>
        <p:spPr>
          <a:xfrm>
            <a:off x="2013734" y="6257320"/>
            <a:ext cx="923304" cy="0"/>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1FEB0F4-DEC7-D1F4-DC34-1EADE2DE2614}"/>
              </a:ext>
            </a:extLst>
          </p:cNvPr>
          <p:cNvSpPr/>
          <p:nvPr/>
        </p:nvSpPr>
        <p:spPr>
          <a:xfrm>
            <a:off x="1997569" y="6283059"/>
            <a:ext cx="923305" cy="1692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Legal </a:t>
            </a:r>
          </a:p>
        </p:txBody>
      </p:sp>
      <p:cxnSp>
        <p:nvCxnSpPr>
          <p:cNvPr id="16" name="Straight Arrow Connector 15">
            <a:extLst>
              <a:ext uri="{FF2B5EF4-FFF2-40B4-BE49-F238E27FC236}">
                <a16:creationId xmlns:a16="http://schemas.microsoft.com/office/drawing/2014/main" id="{F0387336-1C25-7C9A-936D-487B328A411A}"/>
              </a:ext>
            </a:extLst>
          </p:cNvPr>
          <p:cNvCxnSpPr>
            <a:cxnSpLocks/>
          </p:cNvCxnSpPr>
          <p:nvPr/>
        </p:nvCxnSpPr>
        <p:spPr>
          <a:xfrm>
            <a:off x="4146779" y="6257320"/>
            <a:ext cx="923304" cy="0"/>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8E99C03-852F-90A3-8FFC-97DD695DAF41}"/>
              </a:ext>
            </a:extLst>
          </p:cNvPr>
          <p:cNvSpPr/>
          <p:nvPr/>
        </p:nvSpPr>
        <p:spPr>
          <a:xfrm>
            <a:off x="4146779" y="6283059"/>
            <a:ext cx="923305" cy="1692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Hierarchical </a:t>
            </a:r>
          </a:p>
        </p:txBody>
      </p:sp>
      <p:sp>
        <p:nvSpPr>
          <p:cNvPr id="47" name="TextBox 46">
            <a:extLst>
              <a:ext uri="{FF2B5EF4-FFF2-40B4-BE49-F238E27FC236}">
                <a16:creationId xmlns:a16="http://schemas.microsoft.com/office/drawing/2014/main" id="{21D3120B-6CB7-07C0-BCDE-B938BAD8A1DF}"/>
              </a:ext>
            </a:extLst>
          </p:cNvPr>
          <p:cNvSpPr txBox="1"/>
          <p:nvPr/>
        </p:nvSpPr>
        <p:spPr>
          <a:xfrm>
            <a:off x="864961" y="5728847"/>
            <a:ext cx="517555" cy="189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a:solidFill>
                  <a:srgbClr val="145164"/>
                </a:solidFill>
              </a:rPr>
              <a:t>Key </a:t>
            </a:r>
          </a:p>
        </p:txBody>
      </p:sp>
      <p:sp>
        <p:nvSpPr>
          <p:cNvPr id="35" name="Rectangle 34">
            <a:extLst>
              <a:ext uri="{FF2B5EF4-FFF2-40B4-BE49-F238E27FC236}">
                <a16:creationId xmlns:a16="http://schemas.microsoft.com/office/drawing/2014/main" id="{A0BA0BEA-3125-7F6D-3C2D-FFD89C724408}"/>
              </a:ext>
            </a:extLst>
          </p:cNvPr>
          <p:cNvSpPr/>
          <p:nvPr/>
        </p:nvSpPr>
        <p:spPr>
          <a:xfrm>
            <a:off x="3080255" y="6295852"/>
            <a:ext cx="923305" cy="1692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E0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dirty="0">
                <a:solidFill>
                  <a:srgbClr val="000000"/>
                </a:solidFill>
              </a:rPr>
              <a:t>Contractual </a:t>
            </a:r>
          </a:p>
        </p:txBody>
      </p:sp>
      <p:cxnSp>
        <p:nvCxnSpPr>
          <p:cNvPr id="36" name="Straight Arrow Connector 35">
            <a:extLst>
              <a:ext uri="{FF2B5EF4-FFF2-40B4-BE49-F238E27FC236}">
                <a16:creationId xmlns:a16="http://schemas.microsoft.com/office/drawing/2014/main" id="{5E91C24B-4ACC-8077-6CD6-7570B6473A3A}"/>
              </a:ext>
            </a:extLst>
          </p:cNvPr>
          <p:cNvCxnSpPr>
            <a:cxnSpLocks/>
          </p:cNvCxnSpPr>
          <p:nvPr/>
        </p:nvCxnSpPr>
        <p:spPr>
          <a:xfrm>
            <a:off x="3080256" y="6257320"/>
            <a:ext cx="923304" cy="0"/>
          </a:xfrm>
          <a:prstGeom prst="straightConnector1">
            <a:avLst/>
          </a:prstGeom>
          <a:ln w="19050" cap="flat" cmpd="sng" algn="ctr">
            <a:solidFill>
              <a:srgbClr val="E9713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8418275-9583-2FF2-8DA9-6A012CFEF55F}"/>
              </a:ext>
            </a:extLst>
          </p:cNvPr>
          <p:cNvCxnSpPr>
            <a:cxnSpLocks/>
            <a:stCxn id="32" idx="1"/>
            <a:endCxn id="39" idx="2"/>
          </p:cNvCxnSpPr>
          <p:nvPr/>
        </p:nvCxnSpPr>
        <p:spPr>
          <a:xfrm flipH="1" flipV="1">
            <a:off x="3255950" y="2262868"/>
            <a:ext cx="938990" cy="1561871"/>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F1036E-2650-4E4C-D739-59C81580A209}"/>
              </a:ext>
            </a:extLst>
          </p:cNvPr>
          <p:cNvCxnSpPr>
            <a:cxnSpLocks/>
            <a:endCxn id="39" idx="2"/>
          </p:cNvCxnSpPr>
          <p:nvPr/>
        </p:nvCxnSpPr>
        <p:spPr>
          <a:xfrm flipV="1">
            <a:off x="1695299" y="2262868"/>
            <a:ext cx="1560651" cy="1701584"/>
          </a:xfrm>
          <a:prstGeom prst="straightConnector1">
            <a:avLst/>
          </a:prstGeom>
          <a:ln w="19050" cap="flat" cmpd="sng" algn="ctr">
            <a:solidFill>
              <a:srgbClr val="FF0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BFBE47AA-59A5-E09F-ECE7-FCCB5DB16895}"/>
              </a:ext>
            </a:extLst>
          </p:cNvPr>
          <p:cNvCxnSpPr>
            <a:cxnSpLocks/>
            <a:stCxn id="32" idx="1"/>
            <a:endCxn id="38" idx="3"/>
          </p:cNvCxnSpPr>
          <p:nvPr/>
        </p:nvCxnSpPr>
        <p:spPr>
          <a:xfrm flipH="1">
            <a:off x="1733841" y="3824739"/>
            <a:ext cx="2461099" cy="72551"/>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EF40B9F-F21A-BFBC-ADB9-B5029915F08B}"/>
              </a:ext>
            </a:extLst>
          </p:cNvPr>
          <p:cNvCxnSpPr>
            <a:cxnSpLocks/>
            <a:endCxn id="38" idx="3"/>
          </p:cNvCxnSpPr>
          <p:nvPr/>
        </p:nvCxnSpPr>
        <p:spPr>
          <a:xfrm flipH="1" flipV="1">
            <a:off x="1733841" y="3897290"/>
            <a:ext cx="2467713" cy="613945"/>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84A061F-038B-107D-E70C-FF14D8098F4A}"/>
              </a:ext>
            </a:extLst>
          </p:cNvPr>
          <p:cNvCxnSpPr>
            <a:cxnSpLocks/>
          </p:cNvCxnSpPr>
          <p:nvPr/>
        </p:nvCxnSpPr>
        <p:spPr>
          <a:xfrm flipV="1">
            <a:off x="1763441" y="2578822"/>
            <a:ext cx="289069" cy="1305084"/>
          </a:xfrm>
          <a:prstGeom prst="straightConnector1">
            <a:avLst/>
          </a:prstGeom>
          <a:ln w="19050" cap="flat" cmpd="sng" algn="ctr">
            <a:solidFill>
              <a:srgbClr val="E9713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EEA8388-5727-85B3-7B83-C288A44EFB3A}"/>
              </a:ext>
            </a:extLst>
          </p:cNvPr>
          <p:cNvCxnSpPr>
            <a:cxnSpLocks/>
            <a:stCxn id="38" idx="3"/>
            <a:endCxn id="13" idx="1"/>
          </p:cNvCxnSpPr>
          <p:nvPr/>
        </p:nvCxnSpPr>
        <p:spPr>
          <a:xfrm flipV="1">
            <a:off x="1733841" y="2919553"/>
            <a:ext cx="2178013" cy="977737"/>
          </a:xfrm>
          <a:prstGeom prst="straightConnector1">
            <a:avLst/>
          </a:prstGeom>
          <a:ln w="19050" cap="flat" cmpd="sng" algn="ctr">
            <a:solidFill>
              <a:srgbClr val="E9713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534644F1-7D48-A1E6-D5F8-AD79E261B45A}"/>
              </a:ext>
            </a:extLst>
          </p:cNvPr>
          <p:cNvCxnSpPr>
            <a:cxnSpLocks/>
          </p:cNvCxnSpPr>
          <p:nvPr/>
        </p:nvCxnSpPr>
        <p:spPr>
          <a:xfrm flipV="1">
            <a:off x="1300628" y="3314601"/>
            <a:ext cx="0" cy="263479"/>
          </a:xfrm>
          <a:prstGeom prst="straightConnector1">
            <a:avLst/>
          </a:prstGeom>
          <a:ln w="19050" cap="flat" cmpd="sng" algn="ctr">
            <a:solidFill>
              <a:srgbClr val="670F3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8AA2DDF-7422-C24F-1921-C5F1A8A270C8}"/>
              </a:ext>
            </a:extLst>
          </p:cNvPr>
          <p:cNvSpPr txBox="1"/>
          <p:nvPr/>
        </p:nvSpPr>
        <p:spPr>
          <a:xfrm>
            <a:off x="5709656" y="2667209"/>
            <a:ext cx="5800725" cy="32962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6000" lvl="1" algn="ctr">
              <a:buClr>
                <a:srgbClr val="145164"/>
              </a:buClr>
            </a:pPr>
            <a:r>
              <a:rPr lang="en-GB" sz="1200" i="1" dirty="0">
                <a:solidFill>
                  <a:srgbClr val="000000"/>
                </a:solidFill>
              </a:rPr>
              <a:t>Examples show jurisdictions where configuration is most evident, systems typical combine multiple approaches</a:t>
            </a:r>
          </a:p>
        </p:txBody>
      </p:sp>
      <p:sp>
        <p:nvSpPr>
          <p:cNvPr id="11" name="Rectangle: Rounded Corners 10">
            <a:extLst>
              <a:ext uri="{FF2B5EF4-FFF2-40B4-BE49-F238E27FC236}">
                <a16:creationId xmlns:a16="http://schemas.microsoft.com/office/drawing/2014/main" id="{F033DB85-DC2E-5A6C-1E82-95A781EA87F7}"/>
              </a:ext>
            </a:extLst>
          </p:cNvPr>
          <p:cNvSpPr>
            <a:spLocks/>
          </p:cNvSpPr>
          <p:nvPr/>
        </p:nvSpPr>
        <p:spPr>
          <a:xfrm>
            <a:off x="4101974" y="5875272"/>
            <a:ext cx="973295" cy="282973"/>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Active Participants</a:t>
            </a:r>
          </a:p>
        </p:txBody>
      </p:sp>
      <p:sp>
        <p:nvSpPr>
          <p:cNvPr id="13" name="Rectangle: Rounded Corners 12">
            <a:extLst>
              <a:ext uri="{FF2B5EF4-FFF2-40B4-BE49-F238E27FC236}">
                <a16:creationId xmlns:a16="http://schemas.microsoft.com/office/drawing/2014/main" id="{10354936-D2B1-35CB-2EAA-8F5010B870F2}"/>
              </a:ext>
            </a:extLst>
          </p:cNvPr>
          <p:cNvSpPr>
            <a:spLocks/>
          </p:cNvSpPr>
          <p:nvPr/>
        </p:nvSpPr>
        <p:spPr>
          <a:xfrm>
            <a:off x="3911854" y="2637508"/>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Regional or district body</a:t>
            </a:r>
          </a:p>
        </p:txBody>
      </p:sp>
      <p:sp>
        <p:nvSpPr>
          <p:cNvPr id="14" name="Rectangle: Rounded Corners 13">
            <a:extLst>
              <a:ext uri="{FF2B5EF4-FFF2-40B4-BE49-F238E27FC236}">
                <a16:creationId xmlns:a16="http://schemas.microsoft.com/office/drawing/2014/main" id="{6107E669-AA99-51FF-489D-7FA191A1350B}"/>
              </a:ext>
            </a:extLst>
          </p:cNvPr>
          <p:cNvSpPr>
            <a:spLocks/>
          </p:cNvSpPr>
          <p:nvPr/>
        </p:nvSpPr>
        <p:spPr>
          <a:xfrm rot="10800000" flipV="1">
            <a:off x="2095788" y="5131263"/>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chemeClr val="bg1">
                    <a:lumMod val="65000"/>
                  </a:schemeClr>
                </a:solidFill>
              </a:rPr>
              <a:t>Peers</a:t>
            </a:r>
          </a:p>
          <a:p>
            <a:pPr algn="ctr">
              <a:lnSpc>
                <a:spcPct val="95000"/>
              </a:lnSpc>
            </a:pPr>
            <a:r>
              <a:rPr lang="en-US" sz="1050" i="1" kern="0" dirty="0">
                <a:solidFill>
                  <a:schemeClr val="bg1">
                    <a:lumMod val="65000"/>
                  </a:schemeClr>
                </a:solidFill>
              </a:rPr>
              <a:t>(school cluster or colleagues)</a:t>
            </a:r>
          </a:p>
        </p:txBody>
      </p:sp>
      <p:sp>
        <p:nvSpPr>
          <p:cNvPr id="26" name="Rectangle: Rounded Corners 25">
            <a:extLst>
              <a:ext uri="{FF2B5EF4-FFF2-40B4-BE49-F238E27FC236}">
                <a16:creationId xmlns:a16="http://schemas.microsoft.com/office/drawing/2014/main" id="{66E95FA4-E72A-67B7-AD1B-1F695F35A25B}"/>
              </a:ext>
            </a:extLst>
          </p:cNvPr>
          <p:cNvSpPr>
            <a:spLocks/>
          </p:cNvSpPr>
          <p:nvPr/>
        </p:nvSpPr>
        <p:spPr>
          <a:xfrm rot="10800000" flipV="1">
            <a:off x="826505" y="2712001"/>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dirty="0">
                <a:solidFill>
                  <a:srgbClr val="000000"/>
                </a:solidFill>
              </a:rPr>
              <a:t>Quality</a:t>
            </a:r>
            <a:br>
              <a:rPr lang="en-US" sz="1050" kern="0" dirty="0">
                <a:solidFill>
                  <a:srgbClr val="000000"/>
                </a:solidFill>
              </a:rPr>
            </a:br>
            <a:r>
              <a:rPr lang="en-US" sz="1050" kern="0" dirty="0">
                <a:solidFill>
                  <a:srgbClr val="000000"/>
                </a:solidFill>
              </a:rPr>
              <a:t>bodies</a:t>
            </a:r>
          </a:p>
        </p:txBody>
      </p:sp>
      <p:sp>
        <p:nvSpPr>
          <p:cNvPr id="28" name="Rectangle: Rounded Corners 27">
            <a:extLst>
              <a:ext uri="{FF2B5EF4-FFF2-40B4-BE49-F238E27FC236}">
                <a16:creationId xmlns:a16="http://schemas.microsoft.com/office/drawing/2014/main" id="{C3032770-9099-5F4E-5B37-794F9240B865}"/>
              </a:ext>
            </a:extLst>
          </p:cNvPr>
          <p:cNvSpPr>
            <a:spLocks/>
          </p:cNvSpPr>
          <p:nvPr/>
        </p:nvSpPr>
        <p:spPr>
          <a:xfrm rot="10800000" flipV="1">
            <a:off x="1604514" y="2014732"/>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dirty="0">
                <a:solidFill>
                  <a:srgbClr val="000000"/>
                </a:solidFill>
              </a:rPr>
              <a:t>Court/</a:t>
            </a:r>
            <a:br>
              <a:rPr lang="en-US" sz="1050" kern="0" dirty="0">
                <a:solidFill>
                  <a:srgbClr val="000000"/>
                </a:solidFill>
              </a:rPr>
            </a:br>
            <a:r>
              <a:rPr lang="en-US" sz="1050" kern="0" dirty="0">
                <a:solidFill>
                  <a:srgbClr val="000000"/>
                </a:solidFill>
              </a:rPr>
              <a:t>Regulatory authority</a:t>
            </a:r>
          </a:p>
        </p:txBody>
      </p:sp>
      <p:sp>
        <p:nvSpPr>
          <p:cNvPr id="30" name="Rectangle: Rounded Corners 29">
            <a:extLst>
              <a:ext uri="{FF2B5EF4-FFF2-40B4-BE49-F238E27FC236}">
                <a16:creationId xmlns:a16="http://schemas.microsoft.com/office/drawing/2014/main" id="{21EA967F-CE62-002C-3F20-67D3879344D2}"/>
              </a:ext>
            </a:extLst>
          </p:cNvPr>
          <p:cNvSpPr>
            <a:spLocks/>
          </p:cNvSpPr>
          <p:nvPr/>
        </p:nvSpPr>
        <p:spPr>
          <a:xfrm rot="10800000" flipV="1">
            <a:off x="927100" y="4600284"/>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050" kern="0" dirty="0">
                <a:solidFill>
                  <a:schemeClr val="bg1">
                    <a:lumMod val="65000"/>
                  </a:schemeClr>
                </a:solidFill>
              </a:rPr>
              <a:t>Public </a:t>
            </a:r>
          </a:p>
          <a:p>
            <a:pPr algn="ctr">
              <a:lnSpc>
                <a:spcPct val="95000"/>
              </a:lnSpc>
            </a:pPr>
            <a:r>
              <a:rPr lang="en-US" sz="1050" kern="0" dirty="0">
                <a:solidFill>
                  <a:schemeClr val="bg1">
                    <a:lumMod val="65000"/>
                  </a:schemeClr>
                </a:solidFill>
              </a:rPr>
              <a:t>(stakeholders/</a:t>
            </a:r>
            <a:br>
              <a:rPr lang="en-US" sz="1050" kern="0" dirty="0">
                <a:solidFill>
                  <a:schemeClr val="bg1">
                    <a:lumMod val="65000"/>
                  </a:schemeClr>
                </a:solidFill>
              </a:rPr>
            </a:br>
            <a:r>
              <a:rPr lang="en-US" sz="1050" kern="0" dirty="0">
                <a:solidFill>
                  <a:schemeClr val="bg1">
                    <a:lumMod val="65000"/>
                  </a:schemeClr>
                </a:solidFill>
              </a:rPr>
              <a:t>community)</a:t>
            </a:r>
          </a:p>
        </p:txBody>
      </p:sp>
      <p:sp>
        <p:nvSpPr>
          <p:cNvPr id="32" name="Rectangle: Rounded Corners 31">
            <a:extLst>
              <a:ext uri="{FF2B5EF4-FFF2-40B4-BE49-F238E27FC236}">
                <a16:creationId xmlns:a16="http://schemas.microsoft.com/office/drawing/2014/main" id="{E7CE5822-C2CE-1DCE-935D-9216B5337423}"/>
              </a:ext>
            </a:extLst>
          </p:cNvPr>
          <p:cNvSpPr>
            <a:spLocks/>
          </p:cNvSpPr>
          <p:nvPr/>
        </p:nvSpPr>
        <p:spPr>
          <a:xfrm>
            <a:off x="4194940" y="3542694"/>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050" kern="0" dirty="0">
                <a:solidFill>
                  <a:srgbClr val="000000"/>
                </a:solidFill>
              </a:rPr>
              <a:t>School board/</a:t>
            </a:r>
          </a:p>
          <a:p>
            <a:pPr algn="ctr">
              <a:lnSpc>
                <a:spcPct val="95000"/>
              </a:lnSpc>
            </a:pPr>
            <a:r>
              <a:rPr lang="en-US" sz="1050" kern="0" dirty="0">
                <a:solidFill>
                  <a:srgbClr val="000000"/>
                </a:solidFill>
              </a:rPr>
              <a:t>Governing body</a:t>
            </a:r>
          </a:p>
        </p:txBody>
      </p:sp>
      <p:sp>
        <p:nvSpPr>
          <p:cNvPr id="37" name="Rectangle: Rounded Corners 36">
            <a:extLst>
              <a:ext uri="{FF2B5EF4-FFF2-40B4-BE49-F238E27FC236}">
                <a16:creationId xmlns:a16="http://schemas.microsoft.com/office/drawing/2014/main" id="{D6A8B60C-EB07-9186-8A50-EA331D17C042}"/>
              </a:ext>
            </a:extLst>
          </p:cNvPr>
          <p:cNvSpPr>
            <a:spLocks/>
          </p:cNvSpPr>
          <p:nvPr/>
        </p:nvSpPr>
        <p:spPr>
          <a:xfrm>
            <a:off x="3482891" y="5079285"/>
            <a:ext cx="895992" cy="564090"/>
          </a:xfrm>
          <a:prstGeom prst="roundRect">
            <a:avLst/>
          </a:prstGeom>
          <a:solidFill>
            <a:srgbClr val="FFFFFF"/>
          </a:solidFill>
          <a:ln w="12652">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spc="-24" dirty="0">
                <a:solidFill>
                  <a:schemeClr val="bg1">
                    <a:lumMod val="65000"/>
                  </a:schemeClr>
                </a:solidFill>
              </a:rPr>
              <a:t>Teachers</a:t>
            </a:r>
          </a:p>
        </p:txBody>
      </p:sp>
      <p:sp>
        <p:nvSpPr>
          <p:cNvPr id="38" name="Rectangle: Rounded Corners 37">
            <a:extLst>
              <a:ext uri="{FF2B5EF4-FFF2-40B4-BE49-F238E27FC236}">
                <a16:creationId xmlns:a16="http://schemas.microsoft.com/office/drawing/2014/main" id="{070BB379-D2DA-B551-F4CB-B17903EC7215}"/>
              </a:ext>
            </a:extLst>
          </p:cNvPr>
          <p:cNvSpPr>
            <a:spLocks/>
          </p:cNvSpPr>
          <p:nvPr/>
        </p:nvSpPr>
        <p:spPr>
          <a:xfrm>
            <a:off x="837849" y="3615245"/>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dirty="0">
                <a:solidFill>
                  <a:srgbClr val="000000"/>
                </a:solidFill>
              </a:rPr>
              <a:t>Multi-school proprietor or operator</a:t>
            </a:r>
          </a:p>
        </p:txBody>
      </p:sp>
      <p:sp>
        <p:nvSpPr>
          <p:cNvPr id="39" name="Rectangle: Rounded Corners 38">
            <a:extLst>
              <a:ext uri="{FF2B5EF4-FFF2-40B4-BE49-F238E27FC236}">
                <a16:creationId xmlns:a16="http://schemas.microsoft.com/office/drawing/2014/main" id="{17E507E9-1F98-6386-6FEE-288FEE4DB2EF}"/>
              </a:ext>
            </a:extLst>
          </p:cNvPr>
          <p:cNvSpPr>
            <a:spLocks/>
          </p:cNvSpPr>
          <p:nvPr/>
        </p:nvSpPr>
        <p:spPr>
          <a:xfrm>
            <a:off x="2807954" y="1698778"/>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dirty="0">
                <a:solidFill>
                  <a:srgbClr val="000000"/>
                </a:solidFill>
              </a:rPr>
              <a:t>Ministry</a:t>
            </a:r>
          </a:p>
        </p:txBody>
      </p:sp>
      <p:sp>
        <p:nvSpPr>
          <p:cNvPr id="40" name="Rectangle: Rounded Corners 39">
            <a:extLst>
              <a:ext uri="{FF2B5EF4-FFF2-40B4-BE49-F238E27FC236}">
                <a16:creationId xmlns:a16="http://schemas.microsoft.com/office/drawing/2014/main" id="{C6FA9428-8651-AF15-61B3-5CE92D649BE3}"/>
              </a:ext>
            </a:extLst>
          </p:cNvPr>
          <p:cNvSpPr>
            <a:spLocks/>
          </p:cNvSpPr>
          <p:nvPr/>
        </p:nvSpPr>
        <p:spPr>
          <a:xfrm>
            <a:off x="4181669" y="4438684"/>
            <a:ext cx="895992" cy="564090"/>
          </a:xfrm>
          <a:prstGeom prst="roundRect">
            <a:avLst/>
          </a:prstGeom>
          <a:solidFill>
            <a:srgbClr val="7BCCE5"/>
          </a:solidFill>
          <a:ln w="12652" cap="flat" cmpd="sng" algn="ctr">
            <a:solidFill>
              <a:schemeClr val="tx2">
                <a:lumMod val="60000"/>
                <a:lumOff val="4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050"/>
            </a:pPr>
            <a:r>
              <a:rPr lang="en-US" sz="1050" kern="0" dirty="0">
                <a:solidFill>
                  <a:srgbClr val="000000"/>
                </a:solidFill>
              </a:rPr>
              <a:t>School leaders</a:t>
            </a:r>
          </a:p>
        </p:txBody>
      </p:sp>
      <p:cxnSp>
        <p:nvCxnSpPr>
          <p:cNvPr id="20" name="Straight Arrow Connector 19">
            <a:extLst>
              <a:ext uri="{FF2B5EF4-FFF2-40B4-BE49-F238E27FC236}">
                <a16:creationId xmlns:a16="http://schemas.microsoft.com/office/drawing/2014/main" id="{1AE49ADA-90C3-CC05-1B25-B8F89CE4BE82}"/>
              </a:ext>
            </a:extLst>
          </p:cNvPr>
          <p:cNvCxnSpPr>
            <a:cxnSpLocks/>
            <a:stCxn id="32" idx="1"/>
          </p:cNvCxnSpPr>
          <p:nvPr/>
        </p:nvCxnSpPr>
        <p:spPr>
          <a:xfrm flipH="1" flipV="1">
            <a:off x="1753499" y="3156408"/>
            <a:ext cx="2441441" cy="668331"/>
          </a:xfrm>
          <a:prstGeom prst="straightConnector1">
            <a:avLst/>
          </a:prstGeom>
          <a:ln w="19050" cap="flat" cmpd="sng" algn="ctr">
            <a:solidFill>
              <a:srgbClr val="670F31"/>
            </a:solidFill>
            <a:prstDash val="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EDDDCA70-22FE-CAB9-39DB-23D2DDDA6F1C}"/>
              </a:ext>
            </a:extLst>
          </p:cNvPr>
          <p:cNvCxnSpPr>
            <a:cxnSpLocks/>
          </p:cNvCxnSpPr>
          <p:nvPr/>
        </p:nvCxnSpPr>
        <p:spPr>
          <a:xfrm flipH="1" flipV="1">
            <a:off x="1772383" y="3274149"/>
            <a:ext cx="2393820" cy="1146807"/>
          </a:xfrm>
          <a:prstGeom prst="straightConnector1">
            <a:avLst/>
          </a:prstGeom>
          <a:ln w="19050" cap="flat" cmpd="sng" algn="ctr">
            <a:solidFill>
              <a:srgbClr val="670F31"/>
            </a:solidFill>
            <a:prstDash val="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4837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5D252-295D-9FC9-55FC-76080CC457A0}"/>
              </a:ext>
            </a:extLst>
          </p:cNvPr>
          <p:cNvSpPr>
            <a:spLocks noGrp="1"/>
          </p:cNvSpPr>
          <p:nvPr>
            <p:ph type="title"/>
          </p:nvPr>
        </p:nvSpPr>
        <p:spPr>
          <a:xfrm>
            <a:off x="286603" y="2764203"/>
            <a:ext cx="3439235" cy="1314311"/>
          </a:xfrm>
        </p:spPr>
        <p:txBody>
          <a:bodyPr/>
          <a:lstStyle/>
          <a:p>
            <a:r>
              <a:rPr lang="en-GB" dirty="0"/>
              <a:t>Accountability:</a:t>
            </a:r>
            <a:br>
              <a:rPr lang="en-GB" dirty="0"/>
            </a:br>
            <a:br>
              <a:rPr lang="en-GB" dirty="0"/>
            </a:br>
            <a:r>
              <a:rPr lang="en-GB" b="0" dirty="0"/>
              <a:t>Seven main intended ways of generating improvement…</a:t>
            </a:r>
          </a:p>
        </p:txBody>
      </p:sp>
      <p:sp>
        <p:nvSpPr>
          <p:cNvPr id="3" name="TextBox 2">
            <a:extLst>
              <a:ext uri="{FF2B5EF4-FFF2-40B4-BE49-F238E27FC236}">
                <a16:creationId xmlns:a16="http://schemas.microsoft.com/office/drawing/2014/main" id="{DCBA78AA-9105-D0E5-80CC-808E257F91B4}"/>
              </a:ext>
            </a:extLst>
          </p:cNvPr>
          <p:cNvSpPr txBox="1"/>
          <p:nvPr/>
        </p:nvSpPr>
        <p:spPr>
          <a:xfrm>
            <a:off x="4176216" y="122828"/>
            <a:ext cx="8056728" cy="67351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400050" indent="-400050">
              <a:buFont typeface="+mj-lt"/>
              <a:buAutoNum type="arabicPeriod"/>
            </a:pPr>
            <a:r>
              <a:rPr lang="en-GB" sz="1700" b="1" dirty="0">
                <a:solidFill>
                  <a:schemeClr val="bg2">
                    <a:lumMod val="25000"/>
                  </a:schemeClr>
                </a:solidFill>
              </a:rPr>
              <a:t>Deterring malpractice</a:t>
            </a:r>
            <a:r>
              <a:rPr lang="en-GB" sz="1700" dirty="0">
                <a:solidFill>
                  <a:schemeClr val="bg2">
                    <a:lumMod val="25000"/>
                  </a:schemeClr>
                </a:solidFill>
              </a:rPr>
              <a:t>: </a:t>
            </a:r>
          </a:p>
          <a:p>
            <a:pPr marL="800100" lvl="1" indent="-342900">
              <a:buFont typeface="Arial" panose="020B0604020202020204" pitchFamily="34" charset="0"/>
              <a:buChar char="•"/>
            </a:pPr>
            <a:r>
              <a:rPr lang="en-GB" sz="1700" dirty="0">
                <a:solidFill>
                  <a:schemeClr val="bg2">
                    <a:lumMod val="25000"/>
                  </a:schemeClr>
                </a:solidFill>
              </a:rPr>
              <a:t>Requires clear expectations with a credible possibility of sanctioning.</a:t>
            </a:r>
          </a:p>
          <a:p>
            <a:pPr marL="800100" lvl="1" indent="-342900">
              <a:buFont typeface="Arial" panose="020B0604020202020204" pitchFamily="34" charset="0"/>
              <a:buChar char="•"/>
            </a:pPr>
            <a:r>
              <a:rPr lang="en-GB" sz="1700" dirty="0">
                <a:solidFill>
                  <a:schemeClr val="bg2">
                    <a:lumMod val="25000"/>
                  </a:schemeClr>
                </a:solidFill>
              </a:rPr>
              <a:t>Primarily suited to ensuring compliance with minimum standards.</a:t>
            </a:r>
          </a:p>
          <a:p>
            <a:pPr lvl="1"/>
            <a:endParaRPr lang="en-GB" sz="600"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Prompting support that builds expertise and capacity: </a:t>
            </a:r>
          </a:p>
          <a:p>
            <a:pPr marL="800100" lvl="1" indent="-342900">
              <a:buFont typeface="Arial" panose="020B0604020202020204" pitchFamily="34" charset="0"/>
              <a:buChar char="•"/>
            </a:pPr>
            <a:r>
              <a:rPr lang="en-GB" sz="1700" dirty="0">
                <a:solidFill>
                  <a:schemeClr val="bg2">
                    <a:lumMod val="25000"/>
                  </a:schemeClr>
                </a:solidFill>
              </a:rPr>
              <a:t>Requires school-improvement infrastructure + high quality input in right conditions.</a:t>
            </a:r>
          </a:p>
          <a:p>
            <a:pPr lvl="1"/>
            <a:endParaRPr lang="en-GB" sz="600"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Encouraging professional reflection and solution generation: </a:t>
            </a:r>
          </a:p>
          <a:p>
            <a:pPr marL="800100" lvl="1" indent="-342900">
              <a:buFont typeface="Arial" panose="020B0604020202020204" pitchFamily="34" charset="0"/>
              <a:buChar char="•"/>
            </a:pPr>
            <a:r>
              <a:rPr lang="en-GB" sz="1700" dirty="0">
                <a:solidFill>
                  <a:schemeClr val="bg2">
                    <a:lumMod val="25000"/>
                  </a:schemeClr>
                </a:solidFill>
              </a:rPr>
              <a:t>Depends on high-trust environment with skilled professionals.</a:t>
            </a:r>
          </a:p>
          <a:p>
            <a:pPr lvl="1"/>
            <a:endParaRPr lang="en-GB" sz="600"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Driving pupils towards better performing schools: </a:t>
            </a:r>
          </a:p>
          <a:p>
            <a:pPr marL="800100" lvl="1" indent="-342900">
              <a:buFont typeface="Arial" panose="020B0604020202020204" pitchFamily="34" charset="0"/>
              <a:buChar char="•"/>
            </a:pPr>
            <a:r>
              <a:rPr lang="en-GB" sz="1700" dirty="0">
                <a:solidFill>
                  <a:schemeClr val="bg2">
                    <a:lumMod val="25000"/>
                  </a:schemeClr>
                </a:solidFill>
              </a:rPr>
              <a:t>Depends on availability of alternatives </a:t>
            </a:r>
          </a:p>
          <a:p>
            <a:pPr marL="800100" lvl="1" indent="-342900">
              <a:buFont typeface="Arial" panose="020B0604020202020204" pitchFamily="34" charset="0"/>
              <a:buChar char="•"/>
            </a:pPr>
            <a:r>
              <a:rPr lang="en-GB" sz="1700" dirty="0">
                <a:solidFill>
                  <a:schemeClr val="bg2">
                    <a:lumMod val="25000"/>
                  </a:schemeClr>
                </a:solidFill>
              </a:rPr>
              <a:t>Requires parents to make informed choices based on accurate/meaningful/accessible information. </a:t>
            </a:r>
          </a:p>
          <a:p>
            <a:pPr marL="800100" lvl="1" indent="-342900">
              <a:buFont typeface="Arial" panose="020B0604020202020204" pitchFamily="34" charset="0"/>
              <a:buChar char="•"/>
            </a:pPr>
            <a:r>
              <a:rPr lang="en-GB" sz="1700" dirty="0">
                <a:solidFill>
                  <a:schemeClr val="bg2">
                    <a:lumMod val="25000"/>
                  </a:schemeClr>
                </a:solidFill>
              </a:rPr>
              <a:t>Risk of inequitable outcomes + struggling schools finding it harder to improve.</a:t>
            </a:r>
          </a:p>
          <a:p>
            <a:pPr marL="342900" indent="-342900">
              <a:buFont typeface="+mj-lt"/>
              <a:buAutoNum type="arabicPeriod"/>
            </a:pPr>
            <a:endParaRPr lang="en-GB" sz="600" b="1"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Prompting changes of management: </a:t>
            </a:r>
            <a:endParaRPr lang="en-GB" sz="1700" dirty="0">
              <a:solidFill>
                <a:schemeClr val="bg2">
                  <a:lumMod val="25000"/>
                </a:schemeClr>
              </a:solidFill>
            </a:endParaRPr>
          </a:p>
          <a:p>
            <a:pPr marL="800100" lvl="1" indent="-342900">
              <a:buFont typeface="Arial" panose="020B0604020202020204" pitchFamily="34" charset="0"/>
              <a:buChar char="•"/>
            </a:pPr>
            <a:r>
              <a:rPr lang="en-GB" sz="1700" dirty="0">
                <a:solidFill>
                  <a:schemeClr val="bg2">
                    <a:lumMod val="25000"/>
                  </a:schemeClr>
                </a:solidFill>
              </a:rPr>
              <a:t>Depends on availability of effective managers + conditions to lead effectively.</a:t>
            </a:r>
          </a:p>
          <a:p>
            <a:pPr marL="342900" indent="-342900">
              <a:buFont typeface="+mj-lt"/>
              <a:buAutoNum type="arabicPeriod"/>
            </a:pPr>
            <a:endParaRPr lang="en-GB" sz="600" b="1"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Directing additional effort and attention towards government priorities: </a:t>
            </a:r>
          </a:p>
          <a:p>
            <a:pPr marL="800100" lvl="1" indent="-342900">
              <a:buFont typeface="Arial" panose="020B0604020202020204" pitchFamily="34" charset="0"/>
              <a:buChar char="•"/>
            </a:pPr>
            <a:r>
              <a:rPr lang="en-GB" sz="1700" dirty="0">
                <a:solidFill>
                  <a:schemeClr val="bg2">
                    <a:lumMod val="25000"/>
                  </a:schemeClr>
                </a:solidFill>
              </a:rPr>
              <a:t>Depends on incentives and pressures aligning with policy priorities.</a:t>
            </a:r>
          </a:p>
          <a:p>
            <a:pPr marL="800100" lvl="1" indent="-342900">
              <a:buFont typeface="Arial" panose="020B0604020202020204" pitchFamily="34" charset="0"/>
              <a:buChar char="•"/>
            </a:pPr>
            <a:r>
              <a:rPr lang="en-GB" sz="1700" dirty="0">
                <a:solidFill>
                  <a:schemeClr val="bg2">
                    <a:lumMod val="25000"/>
                  </a:schemeClr>
                </a:solidFill>
              </a:rPr>
              <a:t>Professionals need capacity to direct towards priorities</a:t>
            </a:r>
          </a:p>
          <a:p>
            <a:pPr marL="800100" lvl="1" indent="-342900">
              <a:buFont typeface="Arial" panose="020B0604020202020204" pitchFamily="34" charset="0"/>
              <a:buChar char="•"/>
            </a:pPr>
            <a:r>
              <a:rPr lang="en-GB" sz="1700" dirty="0">
                <a:solidFill>
                  <a:schemeClr val="bg2">
                    <a:lumMod val="25000"/>
                  </a:schemeClr>
                </a:solidFill>
              </a:rPr>
              <a:t>May mean other goals are neglected/innovation inhibited.</a:t>
            </a:r>
          </a:p>
          <a:p>
            <a:pPr marL="342900" indent="-342900">
              <a:buFont typeface="+mj-lt"/>
              <a:buAutoNum type="arabicPeriod"/>
            </a:pPr>
            <a:endParaRPr lang="en-GB" sz="600" b="1" dirty="0">
              <a:solidFill>
                <a:schemeClr val="bg2">
                  <a:lumMod val="25000"/>
                </a:schemeClr>
              </a:solidFill>
            </a:endParaRPr>
          </a:p>
          <a:p>
            <a:pPr marL="342900" indent="-342900">
              <a:buFont typeface="+mj-lt"/>
              <a:buAutoNum type="arabicPeriod"/>
            </a:pPr>
            <a:r>
              <a:rPr lang="en-GB" sz="1700" b="1" dirty="0">
                <a:solidFill>
                  <a:schemeClr val="bg2">
                    <a:lumMod val="25000"/>
                  </a:schemeClr>
                </a:solidFill>
              </a:rPr>
              <a:t>Creating system alignment and coherence: </a:t>
            </a:r>
          </a:p>
          <a:p>
            <a:pPr marL="742950" lvl="1" indent="-285750">
              <a:buFont typeface="Arial" panose="020B0604020202020204" pitchFamily="34" charset="0"/>
              <a:buChar char="•"/>
            </a:pPr>
            <a:r>
              <a:rPr lang="en-GB" sz="1700" dirty="0">
                <a:solidFill>
                  <a:schemeClr val="bg2">
                    <a:lumMod val="25000"/>
                  </a:schemeClr>
                </a:solidFill>
              </a:rPr>
              <a:t>Requires shared priorities and professional learning across the system.</a:t>
            </a:r>
          </a:p>
          <a:p>
            <a:pPr marL="742950" lvl="1" indent="-285750">
              <a:buFont typeface="Arial" panose="020B0604020202020204" pitchFamily="34" charset="0"/>
              <a:buChar char="•"/>
            </a:pPr>
            <a:r>
              <a:rPr lang="en-GB" sz="1700" dirty="0">
                <a:solidFill>
                  <a:schemeClr val="bg2">
                    <a:lumMod val="25000"/>
                  </a:schemeClr>
                </a:solidFill>
              </a:rPr>
              <a:t>Depends on professionals having opportunities and capacity to interact.</a:t>
            </a:r>
          </a:p>
        </p:txBody>
      </p:sp>
    </p:spTree>
    <p:extLst>
      <p:ext uri="{BB962C8B-B14F-4D97-AF65-F5344CB8AC3E}">
        <p14:creationId xmlns:p14="http://schemas.microsoft.com/office/powerpoint/2010/main" val="210279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9289C-61F5-35EE-5659-02E441A9FAF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BDA30F-953F-C760-78BE-BE6E4E9614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FBDA30F-953F-C760-78BE-BE6E4E961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Title 1">
            <a:extLst>
              <a:ext uri="{FF2B5EF4-FFF2-40B4-BE49-F238E27FC236}">
                <a16:creationId xmlns:a16="http://schemas.microsoft.com/office/drawing/2014/main" id="{0929EDE5-C50D-FF56-FF91-895433393768}"/>
              </a:ext>
            </a:extLst>
          </p:cNvPr>
          <p:cNvSpPr>
            <a:spLocks noGrp="1"/>
          </p:cNvSpPr>
          <p:nvPr/>
        </p:nvSpPr>
        <p:spPr>
          <a:xfrm>
            <a:off x="631531" y="453441"/>
            <a:ext cx="10335056" cy="625231"/>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a:lstStyle>
          <a:p>
            <a:r>
              <a:rPr lang="en-US" dirty="0">
                <a:solidFill>
                  <a:srgbClr val="10C4C8"/>
                </a:solidFill>
              </a:rPr>
              <a:t>Curriculum | </a:t>
            </a:r>
            <a:r>
              <a:rPr lang="en-US" dirty="0"/>
              <a:t>Key questions for policymakers</a:t>
            </a:r>
          </a:p>
        </p:txBody>
      </p:sp>
      <p:sp>
        <p:nvSpPr>
          <p:cNvPr id="71" name="Footnote example">
            <a:extLst>
              <a:ext uri="{FF2B5EF4-FFF2-40B4-BE49-F238E27FC236}">
                <a16:creationId xmlns:a16="http://schemas.microsoft.com/office/drawing/2014/main" id="{6F0116EF-D7D3-5AE8-98DB-AAE77B50A867}"/>
              </a:ext>
            </a:extLst>
          </p:cNvPr>
          <p:cNvSpPr txBox="1"/>
          <p:nvPr/>
        </p:nvSpPr>
        <p:spPr>
          <a:xfrm>
            <a:off x="632881" y="6383149"/>
            <a:ext cx="9030914" cy="139397"/>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ea typeface="+mn-ea"/>
                <a:cs typeface="+mn-cs"/>
                <a:sym typeface="Trebuchet MS" panose="020B0603020202020204" pitchFamily="34" charset="0"/>
              </a:rPr>
              <a:t>Source:</a:t>
            </a:r>
          </a:p>
        </p:txBody>
      </p:sp>
      <p:grpSp>
        <p:nvGrpSpPr>
          <p:cNvPr id="55" name="Group 54">
            <a:extLst>
              <a:ext uri="{FF2B5EF4-FFF2-40B4-BE49-F238E27FC236}">
                <a16:creationId xmlns:a16="http://schemas.microsoft.com/office/drawing/2014/main" id="{C48BC959-ACBD-EB98-5443-293C4AF7CBBB}"/>
              </a:ext>
            </a:extLst>
          </p:cNvPr>
          <p:cNvGrpSpPr/>
          <p:nvPr/>
        </p:nvGrpSpPr>
        <p:grpSpPr>
          <a:xfrm>
            <a:off x="631531" y="1230792"/>
            <a:ext cx="11025785" cy="4652063"/>
            <a:chOff x="734209" y="1309450"/>
            <a:chExt cx="11025785" cy="4652063"/>
          </a:xfrm>
        </p:grpSpPr>
        <p:grpSp>
          <p:nvGrpSpPr>
            <p:cNvPr id="33" name="Group 32">
              <a:extLst>
                <a:ext uri="{FF2B5EF4-FFF2-40B4-BE49-F238E27FC236}">
                  <a16:creationId xmlns:a16="http://schemas.microsoft.com/office/drawing/2014/main" id="{05BBB0A9-C80F-4C73-0895-0EDB77B41319}"/>
                </a:ext>
              </a:extLst>
            </p:cNvPr>
            <p:cNvGrpSpPr/>
            <p:nvPr/>
          </p:nvGrpSpPr>
          <p:grpSpPr>
            <a:xfrm>
              <a:off x="3211821" y="1309450"/>
              <a:ext cx="3212568" cy="1161793"/>
              <a:chOff x="4708688" y="2511492"/>
              <a:chExt cx="3212568" cy="1423150"/>
            </a:xfrm>
          </p:grpSpPr>
          <p:sp>
            <p:nvSpPr>
              <p:cNvPr id="34" name="Speech Bubble: Oval 33">
                <a:extLst>
                  <a:ext uri="{FF2B5EF4-FFF2-40B4-BE49-F238E27FC236}">
                    <a16:creationId xmlns:a16="http://schemas.microsoft.com/office/drawing/2014/main" id="{208E7CEB-4745-797F-85E5-F0F9C107BB82}"/>
                  </a:ext>
                </a:extLst>
              </p:cNvPr>
              <p:cNvSpPr/>
              <p:nvPr/>
            </p:nvSpPr>
            <p:spPr>
              <a:xfrm>
                <a:off x="4708688" y="2511492"/>
                <a:ext cx="3212568" cy="1423150"/>
              </a:xfrm>
              <a:prstGeom prst="wedgeEllipseCallout">
                <a:avLst>
                  <a:gd name="adj1" fmla="val -17450"/>
                  <a:gd name="adj2" fmla="val 84073"/>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37373A"/>
                  </a:solidFill>
                </a:endParaRPr>
              </a:p>
            </p:txBody>
          </p:sp>
          <p:sp>
            <p:nvSpPr>
              <p:cNvPr id="35" name="TextBox 34">
                <a:extLst>
                  <a:ext uri="{FF2B5EF4-FFF2-40B4-BE49-F238E27FC236}">
                    <a16:creationId xmlns:a16="http://schemas.microsoft.com/office/drawing/2014/main" id="{91C596FF-9428-650F-5AB9-2336902B2DBC}"/>
                  </a:ext>
                </a:extLst>
              </p:cNvPr>
              <p:cNvSpPr txBox="1"/>
              <p:nvPr/>
            </p:nvSpPr>
            <p:spPr>
              <a:xfrm>
                <a:off x="5030837" y="2827202"/>
                <a:ext cx="2681798" cy="791730"/>
              </a:xfrm>
              <a:prstGeom prst="rect">
                <a:avLst/>
              </a:prstGeom>
              <a:noFill/>
            </p:spPr>
            <p:txBody>
              <a:bodyPr wrap="square" rtlCol="0">
                <a:spAutoFit/>
              </a:bodyPr>
              <a:lstStyle/>
              <a:p>
                <a:pPr algn="ctr"/>
                <a:r>
                  <a:rPr lang="en-GB" sz="1200" b="1" dirty="0">
                    <a:solidFill>
                      <a:srgbClr val="37373A"/>
                    </a:solidFill>
                  </a:rPr>
                  <a:t>What is the best way to achieve the appropriate amount of content in each subject?</a:t>
                </a:r>
              </a:p>
            </p:txBody>
          </p:sp>
        </p:grpSp>
        <p:grpSp>
          <p:nvGrpSpPr>
            <p:cNvPr id="2" name="Group 1">
              <a:extLst>
                <a:ext uri="{FF2B5EF4-FFF2-40B4-BE49-F238E27FC236}">
                  <a16:creationId xmlns:a16="http://schemas.microsoft.com/office/drawing/2014/main" id="{5B7ECDBD-3232-0971-9582-005B5CB70B2B}"/>
                </a:ext>
              </a:extLst>
            </p:cNvPr>
            <p:cNvGrpSpPr/>
            <p:nvPr/>
          </p:nvGrpSpPr>
          <p:grpSpPr>
            <a:xfrm>
              <a:off x="959920" y="2086986"/>
              <a:ext cx="2562446" cy="1026245"/>
              <a:chOff x="272159" y="1122438"/>
              <a:chExt cx="2562446" cy="1423150"/>
            </a:xfrm>
          </p:grpSpPr>
          <p:sp>
            <p:nvSpPr>
              <p:cNvPr id="3" name="Speech Bubble: Rectangle with Corners Rounded 2">
                <a:extLst>
                  <a:ext uri="{FF2B5EF4-FFF2-40B4-BE49-F238E27FC236}">
                    <a16:creationId xmlns:a16="http://schemas.microsoft.com/office/drawing/2014/main" id="{E2212252-BD1A-0E8E-5CAD-33C10DE366F5}"/>
                  </a:ext>
                </a:extLst>
              </p:cNvPr>
              <p:cNvSpPr/>
              <p:nvPr/>
            </p:nvSpPr>
            <p:spPr>
              <a:xfrm>
                <a:off x="272159" y="1122438"/>
                <a:ext cx="2562446" cy="1423150"/>
              </a:xfrm>
              <a:prstGeom prst="wedgeRoundRectCallout">
                <a:avLst>
                  <a:gd name="adj1" fmla="val -48263"/>
                  <a:gd name="adj2" fmla="val 77152"/>
                  <a:gd name="adj3" fmla="val 166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5" name="TextBox 4">
                <a:extLst>
                  <a:ext uri="{FF2B5EF4-FFF2-40B4-BE49-F238E27FC236}">
                    <a16:creationId xmlns:a16="http://schemas.microsoft.com/office/drawing/2014/main" id="{94B15EB6-31FD-ED32-4D73-12D7F321C890}"/>
                  </a:ext>
                </a:extLst>
              </p:cNvPr>
              <p:cNvSpPr txBox="1"/>
              <p:nvPr/>
            </p:nvSpPr>
            <p:spPr>
              <a:xfrm>
                <a:off x="430934" y="1385862"/>
                <a:ext cx="2161658" cy="896303"/>
              </a:xfrm>
              <a:prstGeom prst="rect">
                <a:avLst/>
              </a:prstGeom>
              <a:noFill/>
            </p:spPr>
            <p:txBody>
              <a:bodyPr wrap="square" rtlCol="0">
                <a:spAutoFit/>
              </a:bodyPr>
              <a:lstStyle/>
              <a:p>
                <a:pPr algn="ctr"/>
                <a:r>
                  <a:rPr lang="en-GB" sz="1200" b="1" dirty="0">
                    <a:solidFill>
                      <a:srgbClr val="37373A"/>
                    </a:solidFill>
                  </a:rPr>
                  <a:t>What are the purposes of this curriculum, and how should they be expressed?</a:t>
                </a:r>
              </a:p>
            </p:txBody>
          </p:sp>
        </p:grpSp>
        <p:grpSp>
          <p:nvGrpSpPr>
            <p:cNvPr id="7" name="Group 6">
              <a:extLst>
                <a:ext uri="{FF2B5EF4-FFF2-40B4-BE49-F238E27FC236}">
                  <a16:creationId xmlns:a16="http://schemas.microsoft.com/office/drawing/2014/main" id="{D5D51A45-58A8-E46B-6E76-691F003C3F6C}"/>
                </a:ext>
              </a:extLst>
            </p:cNvPr>
            <p:cNvGrpSpPr/>
            <p:nvPr/>
          </p:nvGrpSpPr>
          <p:grpSpPr>
            <a:xfrm>
              <a:off x="1594710" y="3287357"/>
              <a:ext cx="3212568" cy="1161793"/>
              <a:chOff x="4708688" y="2511492"/>
              <a:chExt cx="3212568" cy="1423150"/>
            </a:xfrm>
          </p:grpSpPr>
          <p:sp>
            <p:nvSpPr>
              <p:cNvPr id="25" name="Speech Bubble: Oval 24">
                <a:extLst>
                  <a:ext uri="{FF2B5EF4-FFF2-40B4-BE49-F238E27FC236}">
                    <a16:creationId xmlns:a16="http://schemas.microsoft.com/office/drawing/2014/main" id="{6299ADEA-900D-E3F8-E824-6C94224373FE}"/>
                  </a:ext>
                </a:extLst>
              </p:cNvPr>
              <p:cNvSpPr/>
              <p:nvPr/>
            </p:nvSpPr>
            <p:spPr>
              <a:xfrm>
                <a:off x="4708688" y="2511492"/>
                <a:ext cx="3212568" cy="1423150"/>
              </a:xfrm>
              <a:prstGeom prst="wedgeEllipseCallout">
                <a:avLst>
                  <a:gd name="adj1" fmla="val -54518"/>
                  <a:gd name="adj2" fmla="val 48959"/>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26" name="TextBox 25">
                <a:extLst>
                  <a:ext uri="{FF2B5EF4-FFF2-40B4-BE49-F238E27FC236}">
                    <a16:creationId xmlns:a16="http://schemas.microsoft.com/office/drawing/2014/main" id="{41007FA1-A520-0246-FC41-E9A10CAF9138}"/>
                  </a:ext>
                </a:extLst>
              </p:cNvPr>
              <p:cNvSpPr txBox="1"/>
              <p:nvPr/>
            </p:nvSpPr>
            <p:spPr>
              <a:xfrm>
                <a:off x="4974073" y="2827202"/>
                <a:ext cx="2681798" cy="791730"/>
              </a:xfrm>
              <a:prstGeom prst="rect">
                <a:avLst/>
              </a:prstGeom>
              <a:noFill/>
            </p:spPr>
            <p:txBody>
              <a:bodyPr wrap="square" rtlCol="0">
                <a:spAutoFit/>
              </a:bodyPr>
              <a:lstStyle/>
              <a:p>
                <a:pPr algn="ctr"/>
                <a:r>
                  <a:rPr lang="en-GB" sz="1200" b="1" dirty="0">
                    <a:solidFill>
                      <a:srgbClr val="37373A"/>
                    </a:solidFill>
                  </a:rPr>
                  <a:t>At what age should student choice or selection be prioritised over a common curriculum?</a:t>
                </a:r>
              </a:p>
            </p:txBody>
          </p:sp>
        </p:grpSp>
        <p:grpSp>
          <p:nvGrpSpPr>
            <p:cNvPr id="27" name="Group 26">
              <a:extLst>
                <a:ext uri="{FF2B5EF4-FFF2-40B4-BE49-F238E27FC236}">
                  <a16:creationId xmlns:a16="http://schemas.microsoft.com/office/drawing/2014/main" id="{236F04EA-858D-D7BC-8FF8-127386CFF99B}"/>
                </a:ext>
              </a:extLst>
            </p:cNvPr>
            <p:cNvGrpSpPr/>
            <p:nvPr/>
          </p:nvGrpSpPr>
          <p:grpSpPr>
            <a:xfrm>
              <a:off x="6611308" y="1319609"/>
              <a:ext cx="2986786" cy="999811"/>
              <a:chOff x="489098" y="1088342"/>
              <a:chExt cx="2562446" cy="1423150"/>
            </a:xfrm>
          </p:grpSpPr>
          <p:sp>
            <p:nvSpPr>
              <p:cNvPr id="28" name="Speech Bubble: Rectangle with Corners Rounded 27">
                <a:extLst>
                  <a:ext uri="{FF2B5EF4-FFF2-40B4-BE49-F238E27FC236}">
                    <a16:creationId xmlns:a16="http://schemas.microsoft.com/office/drawing/2014/main" id="{BD2AA83D-A9EF-2E4A-FAC4-B383226A21B8}"/>
                  </a:ext>
                </a:extLst>
              </p:cNvPr>
              <p:cNvSpPr/>
              <p:nvPr/>
            </p:nvSpPr>
            <p:spPr>
              <a:xfrm>
                <a:off x="489098" y="1088342"/>
                <a:ext cx="2562446" cy="1423150"/>
              </a:xfrm>
              <a:prstGeom prst="wedgeRoundRectCallout">
                <a:avLst>
                  <a:gd name="adj1" fmla="val -3393"/>
                  <a:gd name="adj2" fmla="val 82121"/>
                  <a:gd name="adj3" fmla="val 166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29" name="TextBox 28">
                <a:extLst>
                  <a:ext uri="{FF2B5EF4-FFF2-40B4-BE49-F238E27FC236}">
                    <a16:creationId xmlns:a16="http://schemas.microsoft.com/office/drawing/2014/main" id="{80D3386C-6BF8-D661-6CAD-794D58DCA2B3}"/>
                  </a:ext>
                </a:extLst>
              </p:cNvPr>
              <p:cNvSpPr txBox="1"/>
              <p:nvPr/>
            </p:nvSpPr>
            <p:spPr>
              <a:xfrm>
                <a:off x="689492" y="1339917"/>
                <a:ext cx="2161658" cy="920000"/>
              </a:xfrm>
              <a:prstGeom prst="rect">
                <a:avLst/>
              </a:prstGeom>
              <a:noFill/>
            </p:spPr>
            <p:txBody>
              <a:bodyPr wrap="square" rtlCol="0">
                <a:spAutoFit/>
              </a:bodyPr>
              <a:lstStyle/>
              <a:p>
                <a:pPr algn="ctr"/>
                <a:r>
                  <a:rPr lang="en-GB" sz="1200" b="1" dirty="0">
                    <a:solidFill>
                      <a:srgbClr val="37373A"/>
                    </a:solidFill>
                  </a:rPr>
                  <a:t>How can the curriculum build in sufficient flexibility to support teacher autonomy?</a:t>
                </a:r>
              </a:p>
            </p:txBody>
          </p:sp>
        </p:grpSp>
        <p:grpSp>
          <p:nvGrpSpPr>
            <p:cNvPr id="30" name="Group 29">
              <a:extLst>
                <a:ext uri="{FF2B5EF4-FFF2-40B4-BE49-F238E27FC236}">
                  <a16:creationId xmlns:a16="http://schemas.microsoft.com/office/drawing/2014/main" id="{BAF3419C-884F-C68A-CB0F-43B2D254BC85}"/>
                </a:ext>
              </a:extLst>
            </p:cNvPr>
            <p:cNvGrpSpPr/>
            <p:nvPr/>
          </p:nvGrpSpPr>
          <p:grpSpPr>
            <a:xfrm>
              <a:off x="4927688" y="2883938"/>
              <a:ext cx="2562446" cy="1143517"/>
              <a:chOff x="1268819" y="2717425"/>
              <a:chExt cx="2562446" cy="1143517"/>
            </a:xfrm>
          </p:grpSpPr>
          <p:sp>
            <p:nvSpPr>
              <p:cNvPr id="31" name="Speech Bubble: Rectangle with Corners Rounded 30">
                <a:extLst>
                  <a:ext uri="{FF2B5EF4-FFF2-40B4-BE49-F238E27FC236}">
                    <a16:creationId xmlns:a16="http://schemas.microsoft.com/office/drawing/2014/main" id="{6672C830-514A-35EC-32E8-849B785CBF2B}"/>
                  </a:ext>
                </a:extLst>
              </p:cNvPr>
              <p:cNvSpPr/>
              <p:nvPr/>
            </p:nvSpPr>
            <p:spPr>
              <a:xfrm>
                <a:off x="1268819" y="2717425"/>
                <a:ext cx="2562446" cy="1143517"/>
              </a:xfrm>
              <a:prstGeom prst="wedgeRoundRectCallout">
                <a:avLst>
                  <a:gd name="adj1" fmla="val -48263"/>
                  <a:gd name="adj2" fmla="val 77152"/>
                  <a:gd name="adj3" fmla="val 166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32" name="TextBox 31">
                <a:extLst>
                  <a:ext uri="{FF2B5EF4-FFF2-40B4-BE49-F238E27FC236}">
                    <a16:creationId xmlns:a16="http://schemas.microsoft.com/office/drawing/2014/main" id="{FBAE0D51-443B-8DEB-2863-E1D8C8E7C67A}"/>
                  </a:ext>
                </a:extLst>
              </p:cNvPr>
              <p:cNvSpPr txBox="1"/>
              <p:nvPr/>
            </p:nvSpPr>
            <p:spPr>
              <a:xfrm>
                <a:off x="1268819" y="2966018"/>
                <a:ext cx="2537203" cy="646331"/>
              </a:xfrm>
              <a:prstGeom prst="rect">
                <a:avLst/>
              </a:prstGeom>
              <a:noFill/>
            </p:spPr>
            <p:txBody>
              <a:bodyPr wrap="square" rtlCol="0">
                <a:spAutoFit/>
              </a:bodyPr>
              <a:lstStyle/>
              <a:p>
                <a:pPr algn="ctr"/>
                <a:r>
                  <a:rPr lang="en-GB" sz="1200" b="1" dirty="0">
                    <a:solidFill>
                      <a:srgbClr val="37373A"/>
                    </a:solidFill>
                  </a:rPr>
                  <a:t>How can the curriculum provide sufficient specificity to support clarity, progression and equality?</a:t>
                </a:r>
              </a:p>
            </p:txBody>
          </p:sp>
        </p:grpSp>
        <p:grpSp>
          <p:nvGrpSpPr>
            <p:cNvPr id="36" name="Group 35">
              <a:extLst>
                <a:ext uri="{FF2B5EF4-FFF2-40B4-BE49-F238E27FC236}">
                  <a16:creationId xmlns:a16="http://schemas.microsoft.com/office/drawing/2014/main" id="{F7CF3813-40F7-3494-B8BD-97046B5F242C}"/>
                </a:ext>
              </a:extLst>
            </p:cNvPr>
            <p:cNvGrpSpPr/>
            <p:nvPr/>
          </p:nvGrpSpPr>
          <p:grpSpPr>
            <a:xfrm>
              <a:off x="3193977" y="4644534"/>
              <a:ext cx="3212568" cy="1316979"/>
              <a:chOff x="4708688" y="2511492"/>
              <a:chExt cx="3212568" cy="1316979"/>
            </a:xfrm>
          </p:grpSpPr>
          <p:sp>
            <p:nvSpPr>
              <p:cNvPr id="37" name="Speech Bubble: Oval 36">
                <a:extLst>
                  <a:ext uri="{FF2B5EF4-FFF2-40B4-BE49-F238E27FC236}">
                    <a16:creationId xmlns:a16="http://schemas.microsoft.com/office/drawing/2014/main" id="{4A890987-6203-690E-9CAE-523F93CFA744}"/>
                  </a:ext>
                </a:extLst>
              </p:cNvPr>
              <p:cNvSpPr/>
              <p:nvPr/>
            </p:nvSpPr>
            <p:spPr>
              <a:xfrm>
                <a:off x="4708688" y="2511492"/>
                <a:ext cx="3212568" cy="1316979"/>
              </a:xfrm>
              <a:prstGeom prst="wedgeEllipseCallout">
                <a:avLst>
                  <a:gd name="adj1" fmla="val 38815"/>
                  <a:gd name="adj2" fmla="val 728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38" name="TextBox 37">
                <a:extLst>
                  <a:ext uri="{FF2B5EF4-FFF2-40B4-BE49-F238E27FC236}">
                    <a16:creationId xmlns:a16="http://schemas.microsoft.com/office/drawing/2014/main" id="{89A6A91E-C4CC-D808-174A-7CFF42671559}"/>
                  </a:ext>
                </a:extLst>
              </p:cNvPr>
              <p:cNvSpPr txBox="1"/>
              <p:nvPr/>
            </p:nvSpPr>
            <p:spPr>
              <a:xfrm>
                <a:off x="5025412" y="2754483"/>
                <a:ext cx="2681798" cy="830997"/>
              </a:xfrm>
              <a:prstGeom prst="rect">
                <a:avLst/>
              </a:prstGeom>
              <a:noFill/>
            </p:spPr>
            <p:txBody>
              <a:bodyPr wrap="square" rtlCol="0">
                <a:spAutoFit/>
              </a:bodyPr>
              <a:lstStyle/>
              <a:p>
                <a:pPr algn="ctr"/>
                <a:r>
                  <a:rPr lang="en-GB" sz="1200" b="1" dirty="0">
                    <a:solidFill>
                      <a:srgbClr val="37373A"/>
                    </a:solidFill>
                  </a:rPr>
                  <a:t>How can this curriculum support links across subjects, and broader skills, without confusing or overwhelming teachers?</a:t>
                </a:r>
              </a:p>
            </p:txBody>
          </p:sp>
        </p:grpSp>
        <p:grpSp>
          <p:nvGrpSpPr>
            <p:cNvPr id="39" name="Group 38">
              <a:extLst>
                <a:ext uri="{FF2B5EF4-FFF2-40B4-BE49-F238E27FC236}">
                  <a16:creationId xmlns:a16="http://schemas.microsoft.com/office/drawing/2014/main" id="{D00F684D-5DAD-0D13-40F9-7A21041A302B}"/>
                </a:ext>
              </a:extLst>
            </p:cNvPr>
            <p:cNvGrpSpPr/>
            <p:nvPr/>
          </p:nvGrpSpPr>
          <p:grpSpPr>
            <a:xfrm>
              <a:off x="7610544" y="2516928"/>
              <a:ext cx="3212568" cy="1345282"/>
              <a:chOff x="4708688" y="2511493"/>
              <a:chExt cx="3212568" cy="1223845"/>
            </a:xfrm>
          </p:grpSpPr>
          <p:sp>
            <p:nvSpPr>
              <p:cNvPr id="41" name="Speech Bubble: Oval 40">
                <a:extLst>
                  <a:ext uri="{FF2B5EF4-FFF2-40B4-BE49-F238E27FC236}">
                    <a16:creationId xmlns:a16="http://schemas.microsoft.com/office/drawing/2014/main" id="{588B645D-16A4-FD68-ABD7-4E52E03C940D}"/>
                  </a:ext>
                </a:extLst>
              </p:cNvPr>
              <p:cNvSpPr/>
              <p:nvPr/>
            </p:nvSpPr>
            <p:spPr>
              <a:xfrm>
                <a:off x="4708688" y="2511493"/>
                <a:ext cx="3212568" cy="1223845"/>
              </a:xfrm>
              <a:prstGeom prst="wedgeEllipseCallout">
                <a:avLst>
                  <a:gd name="adj1" fmla="val 60989"/>
                  <a:gd name="adj2" fmla="val 44595"/>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37373A"/>
                  </a:solidFill>
                </a:endParaRPr>
              </a:p>
            </p:txBody>
          </p:sp>
          <p:sp>
            <p:nvSpPr>
              <p:cNvPr id="42" name="TextBox 41">
                <a:extLst>
                  <a:ext uri="{FF2B5EF4-FFF2-40B4-BE49-F238E27FC236}">
                    <a16:creationId xmlns:a16="http://schemas.microsoft.com/office/drawing/2014/main" id="{9E51084F-2E76-F84A-033E-99CF7B29DE73}"/>
                  </a:ext>
                </a:extLst>
              </p:cNvPr>
              <p:cNvSpPr txBox="1"/>
              <p:nvPr/>
            </p:nvSpPr>
            <p:spPr>
              <a:xfrm>
                <a:off x="4949509" y="2745424"/>
                <a:ext cx="2834198" cy="755984"/>
              </a:xfrm>
              <a:prstGeom prst="rect">
                <a:avLst/>
              </a:prstGeom>
              <a:noFill/>
            </p:spPr>
            <p:txBody>
              <a:bodyPr wrap="square" rtlCol="0">
                <a:spAutoFit/>
              </a:bodyPr>
              <a:lstStyle/>
              <a:p>
                <a:pPr algn="ctr"/>
                <a:r>
                  <a:rPr lang="en-GB" sz="1200" b="1" dirty="0">
                    <a:solidFill>
                      <a:srgbClr val="37373A"/>
                    </a:solidFill>
                  </a:rPr>
                  <a:t>How can this curriculum support student progress over time, and address different rates of progress between different pupils?</a:t>
                </a:r>
              </a:p>
            </p:txBody>
          </p:sp>
        </p:grpSp>
        <p:grpSp>
          <p:nvGrpSpPr>
            <p:cNvPr id="43" name="Group 42">
              <a:extLst>
                <a:ext uri="{FF2B5EF4-FFF2-40B4-BE49-F238E27FC236}">
                  <a16:creationId xmlns:a16="http://schemas.microsoft.com/office/drawing/2014/main" id="{3A2EE134-8107-2158-8982-4171C17F4563}"/>
                </a:ext>
              </a:extLst>
            </p:cNvPr>
            <p:cNvGrpSpPr/>
            <p:nvPr/>
          </p:nvGrpSpPr>
          <p:grpSpPr>
            <a:xfrm>
              <a:off x="6680624" y="4145885"/>
              <a:ext cx="2185689" cy="1483279"/>
              <a:chOff x="1268819" y="2717425"/>
              <a:chExt cx="2562446" cy="1110046"/>
            </a:xfrm>
          </p:grpSpPr>
          <p:sp>
            <p:nvSpPr>
              <p:cNvPr id="44" name="Speech Bubble: Rectangle with Corners Rounded 43">
                <a:extLst>
                  <a:ext uri="{FF2B5EF4-FFF2-40B4-BE49-F238E27FC236}">
                    <a16:creationId xmlns:a16="http://schemas.microsoft.com/office/drawing/2014/main" id="{083D054B-CBA2-8A8C-D6BA-5E79F3D14071}"/>
                  </a:ext>
                </a:extLst>
              </p:cNvPr>
              <p:cNvSpPr/>
              <p:nvPr/>
            </p:nvSpPr>
            <p:spPr>
              <a:xfrm>
                <a:off x="1268819" y="2717425"/>
                <a:ext cx="2562446" cy="1110046"/>
              </a:xfrm>
              <a:prstGeom prst="wedgeRoundRectCallout">
                <a:avLst>
                  <a:gd name="adj1" fmla="val 42193"/>
                  <a:gd name="adj2" fmla="val 77899"/>
                  <a:gd name="adj3" fmla="val 166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37373A"/>
                  </a:solidFill>
                </a:endParaRPr>
              </a:p>
            </p:txBody>
          </p:sp>
          <p:sp>
            <p:nvSpPr>
              <p:cNvPr id="47" name="TextBox 46">
                <a:extLst>
                  <a:ext uri="{FF2B5EF4-FFF2-40B4-BE49-F238E27FC236}">
                    <a16:creationId xmlns:a16="http://schemas.microsoft.com/office/drawing/2014/main" id="{0E6148DF-D0BA-49B2-A2B9-C96A10E30DEF}"/>
                  </a:ext>
                </a:extLst>
              </p:cNvPr>
              <p:cNvSpPr txBox="1"/>
              <p:nvPr/>
            </p:nvSpPr>
            <p:spPr>
              <a:xfrm>
                <a:off x="1294061" y="2892401"/>
                <a:ext cx="2537202" cy="760095"/>
              </a:xfrm>
              <a:prstGeom prst="rect">
                <a:avLst/>
              </a:prstGeom>
              <a:noFill/>
            </p:spPr>
            <p:txBody>
              <a:bodyPr wrap="square" rtlCol="0">
                <a:spAutoFit/>
              </a:bodyPr>
              <a:lstStyle/>
              <a:p>
                <a:pPr algn="ctr"/>
                <a:r>
                  <a:rPr lang="en-GB" sz="1200" b="1" dirty="0">
                    <a:solidFill>
                      <a:srgbClr val="37373A"/>
                    </a:solidFill>
                  </a:rPr>
                  <a:t>Who should oversee curriculum reform, and how should wider involvement and consultation be managed?</a:t>
                </a:r>
              </a:p>
            </p:txBody>
          </p:sp>
        </p:grpSp>
        <p:grpSp>
          <p:nvGrpSpPr>
            <p:cNvPr id="48" name="Group 47">
              <a:extLst>
                <a:ext uri="{FF2B5EF4-FFF2-40B4-BE49-F238E27FC236}">
                  <a16:creationId xmlns:a16="http://schemas.microsoft.com/office/drawing/2014/main" id="{A1995364-10EA-B517-593B-6BC64A5F86E0}"/>
                </a:ext>
              </a:extLst>
            </p:cNvPr>
            <p:cNvGrpSpPr/>
            <p:nvPr/>
          </p:nvGrpSpPr>
          <p:grpSpPr>
            <a:xfrm>
              <a:off x="8797590" y="3883046"/>
              <a:ext cx="2962404" cy="1613992"/>
              <a:chOff x="4708688" y="2391508"/>
              <a:chExt cx="3212568" cy="1374992"/>
            </a:xfrm>
          </p:grpSpPr>
          <p:sp>
            <p:nvSpPr>
              <p:cNvPr id="49" name="Speech Bubble: Oval 48">
                <a:extLst>
                  <a:ext uri="{FF2B5EF4-FFF2-40B4-BE49-F238E27FC236}">
                    <a16:creationId xmlns:a16="http://schemas.microsoft.com/office/drawing/2014/main" id="{A782395E-AAE7-A7F9-80CD-ECF3C68F2B17}"/>
                  </a:ext>
                </a:extLst>
              </p:cNvPr>
              <p:cNvSpPr/>
              <p:nvPr/>
            </p:nvSpPr>
            <p:spPr>
              <a:xfrm>
                <a:off x="4708688" y="2391508"/>
                <a:ext cx="3212568" cy="1374992"/>
              </a:xfrm>
              <a:prstGeom prst="wedgeEllipseCallout">
                <a:avLst>
                  <a:gd name="adj1" fmla="val 52715"/>
                  <a:gd name="adj2" fmla="val 68384"/>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37373A"/>
                  </a:solidFill>
                </a:endParaRPr>
              </a:p>
            </p:txBody>
          </p:sp>
          <p:sp>
            <p:nvSpPr>
              <p:cNvPr id="50" name="TextBox 49">
                <a:extLst>
                  <a:ext uri="{FF2B5EF4-FFF2-40B4-BE49-F238E27FC236}">
                    <a16:creationId xmlns:a16="http://schemas.microsoft.com/office/drawing/2014/main" id="{C7F7EB81-F571-903B-00BC-44FE9BAF67B4}"/>
                  </a:ext>
                </a:extLst>
              </p:cNvPr>
              <p:cNvSpPr txBox="1"/>
              <p:nvPr/>
            </p:nvSpPr>
            <p:spPr>
              <a:xfrm>
                <a:off x="4967157" y="2725033"/>
                <a:ext cx="2695629" cy="707943"/>
              </a:xfrm>
              <a:prstGeom prst="rect">
                <a:avLst/>
              </a:prstGeom>
              <a:noFill/>
            </p:spPr>
            <p:txBody>
              <a:bodyPr wrap="square" rtlCol="0">
                <a:spAutoFit/>
              </a:bodyPr>
              <a:lstStyle/>
              <a:p>
                <a:pPr algn="ctr"/>
                <a:r>
                  <a:rPr lang="en-GB" sz="1200" b="1" dirty="0">
                    <a:solidFill>
                      <a:srgbClr val="37373A"/>
                    </a:solidFill>
                  </a:rPr>
                  <a:t>How will the implementation of the curriculum framework allow teachers the time, resources and support to make a success of it?</a:t>
                </a:r>
              </a:p>
            </p:txBody>
          </p:sp>
        </p:grpSp>
        <p:grpSp>
          <p:nvGrpSpPr>
            <p:cNvPr id="51" name="Group 50">
              <a:extLst>
                <a:ext uri="{FF2B5EF4-FFF2-40B4-BE49-F238E27FC236}">
                  <a16:creationId xmlns:a16="http://schemas.microsoft.com/office/drawing/2014/main" id="{03605452-0CE2-9719-3EE5-9194CC987C13}"/>
                </a:ext>
              </a:extLst>
            </p:cNvPr>
            <p:cNvGrpSpPr/>
            <p:nvPr/>
          </p:nvGrpSpPr>
          <p:grpSpPr>
            <a:xfrm>
              <a:off x="734209" y="4639107"/>
              <a:ext cx="2562446" cy="965889"/>
              <a:chOff x="1268819" y="2717425"/>
              <a:chExt cx="2562446" cy="1423150"/>
            </a:xfrm>
          </p:grpSpPr>
          <p:sp>
            <p:nvSpPr>
              <p:cNvPr id="52" name="Speech Bubble: Rectangle with Corners Rounded 51">
                <a:extLst>
                  <a:ext uri="{FF2B5EF4-FFF2-40B4-BE49-F238E27FC236}">
                    <a16:creationId xmlns:a16="http://schemas.microsoft.com/office/drawing/2014/main" id="{BDED16FE-E703-A1D8-3313-FC789E4B97BD}"/>
                  </a:ext>
                </a:extLst>
              </p:cNvPr>
              <p:cNvSpPr/>
              <p:nvPr/>
            </p:nvSpPr>
            <p:spPr>
              <a:xfrm>
                <a:off x="1268819" y="2717425"/>
                <a:ext cx="2562446" cy="1423150"/>
              </a:xfrm>
              <a:prstGeom prst="wedgeRoundRectCallout">
                <a:avLst>
                  <a:gd name="adj1" fmla="val -48263"/>
                  <a:gd name="adj2" fmla="val 77152"/>
                  <a:gd name="adj3" fmla="val 16667"/>
                </a:avLst>
              </a:prstGeom>
              <a:solidFill>
                <a:schemeClr val="bg1"/>
              </a:solidFill>
              <a:ln w="19050">
                <a:solidFill>
                  <a:srgbClr val="10C4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37373A"/>
                  </a:solidFill>
                </a:endParaRPr>
              </a:p>
            </p:txBody>
          </p:sp>
          <p:sp>
            <p:nvSpPr>
              <p:cNvPr id="53" name="TextBox 52">
                <a:extLst>
                  <a:ext uri="{FF2B5EF4-FFF2-40B4-BE49-F238E27FC236}">
                    <a16:creationId xmlns:a16="http://schemas.microsoft.com/office/drawing/2014/main" id="{C498FC93-868C-D8CE-802F-AE10517D548A}"/>
                  </a:ext>
                </a:extLst>
              </p:cNvPr>
              <p:cNvSpPr txBox="1"/>
              <p:nvPr/>
            </p:nvSpPr>
            <p:spPr>
              <a:xfrm>
                <a:off x="1469213" y="2952845"/>
                <a:ext cx="2161658" cy="952310"/>
              </a:xfrm>
              <a:prstGeom prst="rect">
                <a:avLst/>
              </a:prstGeom>
              <a:noFill/>
            </p:spPr>
            <p:txBody>
              <a:bodyPr wrap="square" rtlCol="0">
                <a:spAutoFit/>
              </a:bodyPr>
              <a:lstStyle/>
              <a:p>
                <a:pPr algn="ctr"/>
                <a:r>
                  <a:rPr lang="en-GB" sz="1200" b="1" dirty="0">
                    <a:solidFill>
                      <a:srgbClr val="37373A"/>
                    </a:solidFill>
                  </a:rPr>
                  <a:t>Should the amount of time spent per subject be centrally mandated?</a:t>
                </a:r>
              </a:p>
            </p:txBody>
          </p:sp>
        </p:grpSp>
      </p:grpSp>
    </p:spTree>
    <p:extLst>
      <p:ext uri="{BB962C8B-B14F-4D97-AF65-F5344CB8AC3E}">
        <p14:creationId xmlns:p14="http://schemas.microsoft.com/office/powerpoint/2010/main" val="4111439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A8F6ECE-F8C4-3FD3-E555-EF538BA0AB26}"/>
              </a:ext>
            </a:extLst>
          </p:cNvPr>
          <p:cNvPicPr>
            <a:picLocks noChangeAspect="1"/>
          </p:cNvPicPr>
          <p:nvPr/>
        </p:nvPicPr>
        <p:blipFill>
          <a:blip r:embed="rId2"/>
          <a:stretch>
            <a:fillRect/>
          </a:stretch>
        </p:blipFill>
        <p:spPr>
          <a:xfrm rot="1208810">
            <a:off x="7644598" y="306067"/>
            <a:ext cx="2340149" cy="3040314"/>
          </a:xfrm>
          <a:prstGeom prst="rect">
            <a:avLst/>
          </a:prstGeom>
        </p:spPr>
      </p:pic>
      <p:sp>
        <p:nvSpPr>
          <p:cNvPr id="4" name="Title 3">
            <a:extLst>
              <a:ext uri="{FF2B5EF4-FFF2-40B4-BE49-F238E27FC236}">
                <a16:creationId xmlns:a16="http://schemas.microsoft.com/office/drawing/2014/main" id="{7E73B384-66B7-C35F-F9FC-07720CC94156}"/>
              </a:ext>
            </a:extLst>
          </p:cNvPr>
          <p:cNvSpPr>
            <a:spLocks noGrp="1"/>
          </p:cNvSpPr>
          <p:nvPr>
            <p:ph type="title"/>
          </p:nvPr>
        </p:nvSpPr>
        <p:spPr>
          <a:xfrm>
            <a:off x="507170" y="4519641"/>
            <a:ext cx="6256800" cy="1171475"/>
          </a:xfrm>
        </p:spPr>
        <p:txBody>
          <a:bodyPr/>
          <a:lstStyle/>
          <a:p>
            <a:r>
              <a:rPr lang="en-GB" sz="2000" i="1" dirty="0"/>
              <a:t>All CES reports (including curriculum, accountability, special educational needs + intersections) available at: </a:t>
            </a:r>
            <a:r>
              <a:rPr lang="en-GB" sz="2000" i="1" dirty="0">
                <a:solidFill>
                  <a:schemeClr val="accent4">
                    <a:lumMod val="50000"/>
                  </a:schemeClr>
                </a:solidFill>
                <a:hlinkClick r:id="rId3">
                  <a:extLst>
                    <a:ext uri="{A12FA001-AC4F-418D-AE19-62706E023703}">
                      <ahyp:hlinkClr xmlns:ahyp="http://schemas.microsoft.com/office/drawing/2018/hyperlinkcolor" val="tx"/>
                    </a:ext>
                  </a:extLst>
                </a:hlinkClick>
              </a:rPr>
              <a:t>www.ces.partners</a:t>
            </a:r>
            <a:br>
              <a:rPr lang="en-GB" sz="2000" i="1" dirty="0"/>
            </a:br>
            <a:endParaRPr lang="en-GB" sz="2000" i="1" dirty="0"/>
          </a:p>
        </p:txBody>
      </p:sp>
      <p:sp>
        <p:nvSpPr>
          <p:cNvPr id="5" name="TextBox 4">
            <a:extLst>
              <a:ext uri="{FF2B5EF4-FFF2-40B4-BE49-F238E27FC236}">
                <a16:creationId xmlns:a16="http://schemas.microsoft.com/office/drawing/2014/main" id="{C81B0BE6-8185-8D7D-8E3A-E1AA21D6AFE3}"/>
              </a:ext>
            </a:extLst>
          </p:cNvPr>
          <p:cNvSpPr txBox="1"/>
          <p:nvPr/>
        </p:nvSpPr>
        <p:spPr>
          <a:xfrm>
            <a:off x="286606" y="218362"/>
            <a:ext cx="6864824" cy="1774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GB" sz="2800" dirty="0">
                <a:solidFill>
                  <a:srgbClr val="000000"/>
                </a:solidFill>
              </a:rPr>
              <a:t>Loic Menzies</a:t>
            </a:r>
          </a:p>
          <a:p>
            <a:r>
              <a:rPr lang="en-GB" sz="2400" dirty="0">
                <a:solidFill>
                  <a:srgbClr val="000000"/>
                </a:solidFill>
              </a:rPr>
              <a:t>Chief Research Officer - Centre for Education Systems</a:t>
            </a:r>
          </a:p>
          <a:p>
            <a:r>
              <a:rPr lang="en-GB" sz="2400" dirty="0">
                <a:solidFill>
                  <a:schemeClr val="accent4">
                    <a:lumMod val="50000"/>
                  </a:schemeClr>
                </a:solidFill>
              </a:rPr>
              <a:t>loic.Menzies@gmail.com</a:t>
            </a:r>
            <a:endParaRPr lang="en-GB" sz="2400" dirty="0">
              <a:solidFill>
                <a:srgbClr val="000000"/>
              </a:solidFill>
            </a:endParaRPr>
          </a:p>
        </p:txBody>
      </p:sp>
      <p:pic>
        <p:nvPicPr>
          <p:cNvPr id="1028" name="Picture 4" descr="Young People on the Margins: Priorities for Action in Education and Youth book cover">
            <a:extLst>
              <a:ext uri="{FF2B5EF4-FFF2-40B4-BE49-F238E27FC236}">
                <a16:creationId xmlns:a16="http://schemas.microsoft.com/office/drawing/2014/main" id="{5AC04193-2D2F-0E9B-13FD-2C1F793306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55479">
            <a:off x="8914457" y="2074243"/>
            <a:ext cx="2312110" cy="326998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3181DFD-AD7B-7DD6-3EED-63C3C6FE16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0499" y="1432473"/>
            <a:ext cx="544793" cy="54479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luesky Icon SVG Vector &amp; PNG Free Download | UXWing">
            <a:extLst>
              <a:ext uri="{FF2B5EF4-FFF2-40B4-BE49-F238E27FC236}">
                <a16:creationId xmlns:a16="http://schemas.microsoft.com/office/drawing/2014/main" id="{9C1230E4-C3F8-3B8F-54FC-3BD8DFCAD1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0384" y="1429547"/>
            <a:ext cx="544793" cy="54479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alancing Act: navigating the tensions in our schools system - CfEY">
            <a:extLst>
              <a:ext uri="{FF2B5EF4-FFF2-40B4-BE49-F238E27FC236}">
                <a16:creationId xmlns:a16="http://schemas.microsoft.com/office/drawing/2014/main" id="{22B782F4-E3AD-150F-4436-1DA5CA1CA09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 r="2647"/>
          <a:stretch>
            <a:fillRect/>
          </a:stretch>
        </p:blipFill>
        <p:spPr bwMode="auto">
          <a:xfrm rot="1199574">
            <a:off x="10018613" y="3683089"/>
            <a:ext cx="2007376" cy="2919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4393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CE941-82CD-5A09-87E0-783AEEE0FF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52EDFF-1361-143A-22D1-3DC71524CE60}"/>
              </a:ext>
            </a:extLst>
          </p:cNvPr>
          <p:cNvSpPr>
            <a:spLocks noGrp="1"/>
          </p:cNvSpPr>
          <p:nvPr>
            <p:ph type="title"/>
          </p:nvPr>
        </p:nvSpPr>
        <p:spPr/>
        <p:txBody>
          <a:bodyPr/>
          <a:lstStyle/>
          <a:p>
            <a:br>
              <a:rPr lang="en-GB" dirty="0"/>
            </a:br>
            <a:br>
              <a:rPr lang="en-GB" dirty="0"/>
            </a:br>
            <a:br>
              <a:rPr lang="en-GB" dirty="0"/>
            </a:br>
            <a:br>
              <a:rPr lang="en-GB" dirty="0"/>
            </a:br>
            <a:br>
              <a:rPr lang="en-GB" dirty="0"/>
            </a:br>
            <a:r>
              <a:rPr lang="en-GB" dirty="0"/>
              <a:t>Four typical weaknesses in cross-jurisdictional policy learning</a:t>
            </a:r>
          </a:p>
        </p:txBody>
      </p:sp>
      <p:sp>
        <p:nvSpPr>
          <p:cNvPr id="3" name="TextBox 2">
            <a:extLst>
              <a:ext uri="{FF2B5EF4-FFF2-40B4-BE49-F238E27FC236}">
                <a16:creationId xmlns:a16="http://schemas.microsoft.com/office/drawing/2014/main" id="{FA0F08E9-9646-466B-D314-EDAA14823AFB}"/>
              </a:ext>
            </a:extLst>
          </p:cNvPr>
          <p:cNvSpPr txBox="1"/>
          <p:nvPr/>
        </p:nvSpPr>
        <p:spPr>
          <a:xfrm>
            <a:off x="6701050" y="191072"/>
            <a:ext cx="5436358" cy="63325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GB" sz="2800" dirty="0">
                <a:solidFill>
                  <a:schemeClr val="accent1">
                    <a:lumMod val="90000"/>
                    <a:lumOff val="10000"/>
                  </a:schemeClr>
                </a:solidFill>
              </a:rPr>
              <a:t>1. Country selection</a:t>
            </a:r>
          </a:p>
          <a:p>
            <a:endParaRPr lang="en-GB" sz="2800" dirty="0">
              <a:solidFill>
                <a:schemeClr val="accent1">
                  <a:lumMod val="90000"/>
                  <a:lumOff val="10000"/>
                </a:schemeClr>
              </a:solidFill>
            </a:endParaRPr>
          </a:p>
          <a:p>
            <a:r>
              <a:rPr lang="en-GB" sz="2800" dirty="0">
                <a:solidFill>
                  <a:schemeClr val="accent1">
                    <a:lumMod val="90000"/>
                    <a:lumOff val="10000"/>
                  </a:schemeClr>
                </a:solidFill>
              </a:rPr>
              <a:t>2. Lack of sensitivity to purpose, context and process.</a:t>
            </a:r>
          </a:p>
          <a:p>
            <a:endParaRPr lang="en-GB" sz="2800" dirty="0">
              <a:solidFill>
                <a:schemeClr val="accent1">
                  <a:lumMod val="90000"/>
                  <a:lumOff val="10000"/>
                </a:schemeClr>
              </a:solidFill>
            </a:endParaRPr>
          </a:p>
          <a:p>
            <a:r>
              <a:rPr lang="en-GB" sz="2800" dirty="0">
                <a:solidFill>
                  <a:schemeClr val="accent1">
                    <a:lumMod val="90000"/>
                    <a:lumOff val="10000"/>
                  </a:schemeClr>
                </a:solidFill>
              </a:rPr>
              <a:t>3. Interactions and ‘the coherence question’</a:t>
            </a:r>
          </a:p>
          <a:p>
            <a:endParaRPr lang="en-GB" sz="2800" dirty="0">
              <a:solidFill>
                <a:schemeClr val="accent1">
                  <a:lumMod val="90000"/>
                  <a:lumOff val="10000"/>
                </a:schemeClr>
              </a:solidFill>
            </a:endParaRPr>
          </a:p>
          <a:p>
            <a:r>
              <a:rPr lang="en-GB" sz="2800" dirty="0">
                <a:solidFill>
                  <a:schemeClr val="accent1">
                    <a:lumMod val="90000"/>
                    <a:lumOff val="10000"/>
                  </a:schemeClr>
                </a:solidFill>
              </a:rPr>
              <a:t>4. ‘What works’ v. ‘what happens’ </a:t>
            </a:r>
          </a:p>
          <a:p>
            <a:endParaRPr lang="en-GB" sz="2800" dirty="0">
              <a:solidFill>
                <a:schemeClr val="accent1">
                  <a:lumMod val="90000"/>
                  <a:lumOff val="10000"/>
                </a:schemeClr>
              </a:solidFill>
            </a:endParaRPr>
          </a:p>
        </p:txBody>
      </p:sp>
      <p:pic>
        <p:nvPicPr>
          <p:cNvPr id="6" name="Picture 5">
            <a:extLst>
              <a:ext uri="{FF2B5EF4-FFF2-40B4-BE49-F238E27FC236}">
                <a16:creationId xmlns:a16="http://schemas.microsoft.com/office/drawing/2014/main" id="{715BB310-2D3C-3E87-5FDB-6545F40B3AB2}"/>
              </a:ext>
            </a:extLst>
          </p:cNvPr>
          <p:cNvPicPr>
            <a:picLocks noChangeAspect="1"/>
          </p:cNvPicPr>
          <p:nvPr/>
        </p:nvPicPr>
        <p:blipFill>
          <a:blip r:embed="rId2"/>
          <a:stretch>
            <a:fillRect/>
          </a:stretch>
        </p:blipFill>
        <p:spPr>
          <a:xfrm>
            <a:off x="9856643" y="27295"/>
            <a:ext cx="2195036" cy="732538"/>
          </a:xfrm>
          <a:prstGeom prst="rect">
            <a:avLst/>
          </a:prstGeom>
        </p:spPr>
      </p:pic>
    </p:spTree>
    <p:extLst>
      <p:ext uri="{BB962C8B-B14F-4D97-AF65-F5344CB8AC3E}">
        <p14:creationId xmlns:p14="http://schemas.microsoft.com/office/powerpoint/2010/main" val="3919636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67868-9254-CDFA-CAED-7AB406A881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072469-A503-EB4D-61AD-D87F99315EC5}"/>
              </a:ext>
            </a:extLst>
          </p:cNvPr>
          <p:cNvSpPr>
            <a:spLocks noGrp="1"/>
          </p:cNvSpPr>
          <p:nvPr>
            <p:ph type="title"/>
          </p:nvPr>
        </p:nvSpPr>
        <p:spPr/>
        <p:txBody>
          <a:bodyPr/>
          <a:lstStyle/>
          <a:p>
            <a:r>
              <a:rPr lang="en-GB" dirty="0"/>
              <a:t>Which countries?</a:t>
            </a:r>
          </a:p>
        </p:txBody>
      </p:sp>
    </p:spTree>
    <p:extLst>
      <p:ext uri="{BB962C8B-B14F-4D97-AF65-F5344CB8AC3E}">
        <p14:creationId xmlns:p14="http://schemas.microsoft.com/office/powerpoint/2010/main" val="1685183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D7A5C-A07D-3498-97AE-1769E37FF6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00C2FF-C138-3446-0416-1ACC355806B8}"/>
              </a:ext>
            </a:extLst>
          </p:cNvPr>
          <p:cNvSpPr>
            <a:spLocks noGrp="1"/>
          </p:cNvSpPr>
          <p:nvPr>
            <p:ph type="title"/>
          </p:nvPr>
        </p:nvSpPr>
        <p:spPr/>
        <p:txBody>
          <a:bodyPr/>
          <a:lstStyle/>
          <a:p>
            <a:pPr algn="ctr"/>
            <a:r>
              <a:rPr lang="en-GB" sz="3600" dirty="0">
                <a:solidFill>
                  <a:schemeClr val="tx2"/>
                </a:solidFill>
              </a:rPr>
              <a:t>The risk</a:t>
            </a:r>
          </a:p>
        </p:txBody>
      </p:sp>
      <p:sp>
        <p:nvSpPr>
          <p:cNvPr id="4" name="TextBox 3">
            <a:extLst>
              <a:ext uri="{FF2B5EF4-FFF2-40B4-BE49-F238E27FC236}">
                <a16:creationId xmlns:a16="http://schemas.microsoft.com/office/drawing/2014/main" id="{8E7C47E0-9CBC-0DCF-A8ED-C11AD55B7F51}"/>
              </a:ext>
            </a:extLst>
          </p:cNvPr>
          <p:cNvSpPr txBox="1"/>
          <p:nvPr/>
        </p:nvSpPr>
        <p:spPr>
          <a:xfrm>
            <a:off x="5199797" y="436728"/>
            <a:ext cx="6362203" cy="5923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dirty="0">
              <a:solidFill>
                <a:srgbClr val="000000"/>
              </a:solidFill>
            </a:endParaRPr>
          </a:p>
        </p:txBody>
      </p:sp>
      <p:sp>
        <p:nvSpPr>
          <p:cNvPr id="5" name="TextBox 4">
            <a:extLst>
              <a:ext uri="{FF2B5EF4-FFF2-40B4-BE49-F238E27FC236}">
                <a16:creationId xmlns:a16="http://schemas.microsoft.com/office/drawing/2014/main" id="{B46FCCBE-7231-F493-4AEF-9DD08FD965D0}"/>
              </a:ext>
            </a:extLst>
          </p:cNvPr>
          <p:cNvSpPr txBox="1"/>
          <p:nvPr/>
        </p:nvSpPr>
        <p:spPr>
          <a:xfrm>
            <a:off x="5199797" y="204716"/>
            <a:ext cx="6878472" cy="5977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GB" sz="2800" b="1" dirty="0">
                <a:solidFill>
                  <a:schemeClr val="tx2"/>
                </a:solidFill>
              </a:rPr>
              <a:t>Picking winners:</a:t>
            </a:r>
            <a:r>
              <a:rPr lang="en-GB" sz="2800" dirty="0">
                <a:solidFill>
                  <a:schemeClr val="tx2"/>
                </a:solidFill>
              </a:rPr>
              <a:t> ‘High performing jurisdictions’</a:t>
            </a:r>
          </a:p>
          <a:p>
            <a:pPr marL="342900" indent="-342900">
              <a:buFont typeface="Arial" panose="020B0604020202020204" pitchFamily="34" charset="0"/>
              <a:buChar char="•"/>
            </a:pPr>
            <a:r>
              <a:rPr lang="en-GB" sz="2800" b="1" dirty="0">
                <a:solidFill>
                  <a:schemeClr val="tx2"/>
                </a:solidFill>
              </a:rPr>
              <a:t>Shiny new things: </a:t>
            </a:r>
            <a:r>
              <a:rPr lang="en-GB" sz="2800" dirty="0">
                <a:solidFill>
                  <a:schemeClr val="tx2"/>
                </a:solidFill>
              </a:rPr>
              <a:t>Short-lived bubbles and lack of attention to trajectories</a:t>
            </a:r>
          </a:p>
          <a:p>
            <a:pPr marL="342900" indent="-342900">
              <a:buFont typeface="Arial" panose="020B0604020202020204" pitchFamily="34" charset="0"/>
              <a:buChar char="•"/>
            </a:pPr>
            <a:r>
              <a:rPr lang="en-GB" sz="2800" b="1" dirty="0">
                <a:solidFill>
                  <a:schemeClr val="tx2"/>
                </a:solidFill>
              </a:rPr>
              <a:t>Selectivity to prove a point: </a:t>
            </a:r>
            <a:r>
              <a:rPr lang="en-GB" sz="2800" dirty="0">
                <a:solidFill>
                  <a:schemeClr val="tx2"/>
                </a:solidFill>
              </a:rPr>
              <a:t>Missing counter-examples</a:t>
            </a:r>
          </a:p>
          <a:p>
            <a:pPr marL="342900" indent="-342900">
              <a:buFont typeface="Arial" panose="020B0604020202020204" pitchFamily="34" charset="0"/>
              <a:buChar char="•"/>
            </a:pPr>
            <a:endParaRPr lang="en-GB" sz="2800" dirty="0">
              <a:solidFill>
                <a:schemeClr val="tx2"/>
              </a:solidFill>
            </a:endParaRPr>
          </a:p>
        </p:txBody>
      </p:sp>
      <p:pic>
        <p:nvPicPr>
          <p:cNvPr id="6" name="Picture 5">
            <a:extLst>
              <a:ext uri="{FF2B5EF4-FFF2-40B4-BE49-F238E27FC236}">
                <a16:creationId xmlns:a16="http://schemas.microsoft.com/office/drawing/2014/main" id="{42C82FD8-0CC1-8E06-6861-B0169DF35D62}"/>
              </a:ext>
            </a:extLst>
          </p:cNvPr>
          <p:cNvPicPr>
            <a:picLocks noChangeAspect="1"/>
          </p:cNvPicPr>
          <p:nvPr/>
        </p:nvPicPr>
        <p:blipFill>
          <a:blip r:embed="rId2"/>
          <a:stretch>
            <a:fillRect/>
          </a:stretch>
        </p:blipFill>
        <p:spPr>
          <a:xfrm>
            <a:off x="9129721" y="27295"/>
            <a:ext cx="2948548" cy="984004"/>
          </a:xfrm>
          <a:prstGeom prst="rect">
            <a:avLst/>
          </a:prstGeom>
        </p:spPr>
      </p:pic>
    </p:spTree>
    <p:extLst>
      <p:ext uri="{BB962C8B-B14F-4D97-AF65-F5344CB8AC3E}">
        <p14:creationId xmlns:p14="http://schemas.microsoft.com/office/powerpoint/2010/main" val="350634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73AC3F-A5DD-2B12-3A1E-656D22F5BE1C}"/>
              </a:ext>
            </a:extLst>
          </p:cNvPr>
          <p:cNvPicPr>
            <a:picLocks noChangeAspect="1"/>
          </p:cNvPicPr>
          <p:nvPr/>
        </p:nvPicPr>
        <p:blipFill>
          <a:blip r:embed="rId2">
            <a:alphaModFix/>
          </a:blip>
          <a:stretch>
            <a:fillRect/>
          </a:stretch>
        </p:blipFill>
        <p:spPr>
          <a:xfrm>
            <a:off x="0" y="26581"/>
            <a:ext cx="12192000" cy="6804837"/>
          </a:xfrm>
          <a:prstGeom prst="rect">
            <a:avLst/>
          </a:prstGeom>
        </p:spPr>
      </p:pic>
    </p:spTree>
    <p:extLst>
      <p:ext uri="{BB962C8B-B14F-4D97-AF65-F5344CB8AC3E}">
        <p14:creationId xmlns:p14="http://schemas.microsoft.com/office/powerpoint/2010/main" val="1398289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F1FD2-076C-9751-1DA3-F8FD9A8D76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B71B19-9898-DAA7-E121-9C519183F460}"/>
              </a:ext>
            </a:extLst>
          </p:cNvPr>
          <p:cNvSpPr>
            <a:spLocks noGrp="1"/>
          </p:cNvSpPr>
          <p:nvPr>
            <p:ph type="title"/>
          </p:nvPr>
        </p:nvSpPr>
        <p:spPr/>
        <p:txBody>
          <a:bodyPr/>
          <a:lstStyle/>
          <a:p>
            <a:r>
              <a:rPr lang="en-GB" dirty="0"/>
              <a:t>Country selection</a:t>
            </a:r>
          </a:p>
        </p:txBody>
      </p:sp>
      <p:sp>
        <p:nvSpPr>
          <p:cNvPr id="3" name="TextBox 2">
            <a:extLst>
              <a:ext uri="{FF2B5EF4-FFF2-40B4-BE49-F238E27FC236}">
                <a16:creationId xmlns:a16="http://schemas.microsoft.com/office/drawing/2014/main" id="{78B51FEF-AC7A-FB7E-D312-E5D56C969212}"/>
              </a:ext>
            </a:extLst>
          </p:cNvPr>
          <p:cNvSpPr txBox="1"/>
          <p:nvPr/>
        </p:nvSpPr>
        <p:spPr>
          <a:xfrm>
            <a:off x="4408227" y="204716"/>
            <a:ext cx="7670042" cy="5977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GB" sz="2400" b="1" dirty="0"/>
          </a:p>
          <a:p>
            <a:r>
              <a:rPr lang="en-GB" sz="2400" b="1" dirty="0"/>
              <a:t>Diversity within a similar domain</a:t>
            </a:r>
            <a:r>
              <a:rPr lang="en-GB" sz="2800" b="1" baseline="30000" dirty="0"/>
              <a:t>1</a:t>
            </a:r>
            <a:r>
              <a:rPr lang="en-GB" sz="2400" dirty="0"/>
              <a:t>:</a:t>
            </a:r>
          </a:p>
          <a:p>
            <a:pPr marL="285750" lvl="0" indent="-285750">
              <a:buFontTx/>
              <a:buChar char="-"/>
            </a:pPr>
            <a:r>
              <a:rPr lang="en-GB" sz="2400" dirty="0"/>
              <a:t>High or upper-middle </a:t>
            </a:r>
            <a:r>
              <a:rPr lang="en-GB" sz="2400" b="1" dirty="0"/>
              <a:t>income</a:t>
            </a:r>
            <a:endParaRPr lang="en-GB" sz="2400" dirty="0"/>
          </a:p>
          <a:p>
            <a:pPr marL="285750" lvl="0" indent="-285750">
              <a:buFontTx/>
              <a:buChar char="-"/>
            </a:pPr>
            <a:r>
              <a:rPr lang="en-GB" sz="2400" dirty="0"/>
              <a:t>Near average/above-average </a:t>
            </a:r>
            <a:r>
              <a:rPr lang="en-GB" sz="2400" b="1" dirty="0"/>
              <a:t>educational performance</a:t>
            </a:r>
            <a:r>
              <a:rPr lang="en-GB" sz="2400" dirty="0"/>
              <a:t> in PISA – with mix of </a:t>
            </a:r>
            <a:r>
              <a:rPr lang="en-GB" sz="2400" b="1" dirty="0"/>
              <a:t>trajectories</a:t>
            </a:r>
            <a:r>
              <a:rPr lang="en-GB" sz="2400" dirty="0"/>
              <a:t>.</a:t>
            </a:r>
          </a:p>
          <a:p>
            <a:pPr marL="285750" lvl="0" indent="-285750">
              <a:buFontTx/>
              <a:buChar char="-"/>
            </a:pPr>
            <a:r>
              <a:rPr lang="en-GB" sz="2400" dirty="0"/>
              <a:t>Variation in </a:t>
            </a:r>
            <a:r>
              <a:rPr lang="en-GB" sz="2400" b="1" dirty="0"/>
              <a:t>size/population</a:t>
            </a:r>
            <a:r>
              <a:rPr lang="en-GB" sz="2400" dirty="0"/>
              <a:t> (larger and smaller systems)</a:t>
            </a:r>
          </a:p>
          <a:p>
            <a:pPr marL="285750" lvl="0" indent="-285750">
              <a:buFontTx/>
              <a:buChar char="-"/>
            </a:pPr>
            <a:r>
              <a:rPr lang="en-GB" sz="2400" b="1" dirty="0"/>
              <a:t>Democracies </a:t>
            </a:r>
            <a:r>
              <a:rPr lang="en-GB" sz="2400" dirty="0"/>
              <a:t>with a variety of </a:t>
            </a:r>
            <a:r>
              <a:rPr lang="en-GB" sz="2400" b="1" dirty="0"/>
              <a:t>political </a:t>
            </a:r>
            <a:r>
              <a:rPr lang="en-GB" sz="2400" dirty="0"/>
              <a:t>and </a:t>
            </a:r>
            <a:r>
              <a:rPr lang="en-GB" sz="2400" b="1" dirty="0"/>
              <a:t>cultural </a:t>
            </a:r>
            <a:r>
              <a:rPr lang="en-GB" sz="2400" dirty="0"/>
              <a:t>histories.</a:t>
            </a:r>
          </a:p>
          <a:p>
            <a:r>
              <a:rPr lang="en-GB" sz="2400" dirty="0"/>
              <a:t> </a:t>
            </a:r>
          </a:p>
          <a:p>
            <a:r>
              <a:rPr lang="en-GB" sz="2400" dirty="0"/>
              <a:t>	(+ </a:t>
            </a:r>
            <a:r>
              <a:rPr lang="en-GB" sz="2400" b="1" dirty="0"/>
              <a:t>Policy maker interest)</a:t>
            </a:r>
          </a:p>
          <a:p>
            <a:endParaRPr lang="en-GB" sz="2400" dirty="0">
              <a:solidFill>
                <a:srgbClr val="000000"/>
              </a:solidFill>
            </a:endParaRPr>
          </a:p>
        </p:txBody>
      </p:sp>
      <p:sp>
        <p:nvSpPr>
          <p:cNvPr id="4" name="TextBox 3">
            <a:extLst>
              <a:ext uri="{FF2B5EF4-FFF2-40B4-BE49-F238E27FC236}">
                <a16:creationId xmlns:a16="http://schemas.microsoft.com/office/drawing/2014/main" id="{178BBA9E-E7F9-A3C7-F9BD-06B5CA5B28D2}"/>
              </a:ext>
            </a:extLst>
          </p:cNvPr>
          <p:cNvSpPr txBox="1"/>
          <p:nvPr/>
        </p:nvSpPr>
        <p:spPr>
          <a:xfrm>
            <a:off x="3220872" y="6421271"/>
            <a:ext cx="2988860" cy="436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GB" sz="1200" b="1" baseline="30000" dirty="0"/>
              <a:t>1 </a:t>
            </a:r>
            <a:r>
              <a:rPr lang="en-GB" sz="1200" dirty="0"/>
              <a:t>Seawright &amp; Gerring, 2008</a:t>
            </a:r>
            <a:endParaRPr lang="en-GB" sz="1200" dirty="0">
              <a:solidFill>
                <a:srgbClr val="000000"/>
              </a:solidFill>
            </a:endParaRPr>
          </a:p>
        </p:txBody>
      </p:sp>
    </p:spTree>
    <p:extLst>
      <p:ext uri="{BB962C8B-B14F-4D97-AF65-F5344CB8AC3E}">
        <p14:creationId xmlns:p14="http://schemas.microsoft.com/office/powerpoint/2010/main" val="3962034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A1052-5D57-D536-3BE9-6490B84287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5BF211-553E-F881-3FF0-F1A64B1F203C}"/>
              </a:ext>
            </a:extLst>
          </p:cNvPr>
          <p:cNvSpPr>
            <a:spLocks noGrp="1"/>
          </p:cNvSpPr>
          <p:nvPr>
            <p:ph type="title"/>
          </p:nvPr>
        </p:nvSpPr>
        <p:spPr/>
        <p:txBody>
          <a:bodyPr/>
          <a:lstStyle/>
          <a:p>
            <a:r>
              <a:rPr lang="en-US" dirty="0"/>
              <a:t>Sensitivity to purpose, context and process</a:t>
            </a:r>
            <a:endParaRPr lang="en-GB" dirty="0"/>
          </a:p>
        </p:txBody>
      </p:sp>
    </p:spTree>
    <p:extLst>
      <p:ext uri="{BB962C8B-B14F-4D97-AF65-F5344CB8AC3E}">
        <p14:creationId xmlns:p14="http://schemas.microsoft.com/office/powerpoint/2010/main" val="1911553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4A98E-08A8-3D02-8058-73405B6711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FE6EF6-384B-55E4-B46E-946E9600F80D}"/>
              </a:ext>
            </a:extLst>
          </p:cNvPr>
          <p:cNvSpPr>
            <a:spLocks noGrp="1"/>
          </p:cNvSpPr>
          <p:nvPr>
            <p:ph type="title"/>
          </p:nvPr>
        </p:nvSpPr>
        <p:spPr/>
        <p:txBody>
          <a:bodyPr/>
          <a:lstStyle/>
          <a:p>
            <a:pPr algn="ctr"/>
            <a:r>
              <a:rPr lang="en-GB" sz="3600" dirty="0">
                <a:solidFill>
                  <a:schemeClr val="tx2"/>
                </a:solidFill>
              </a:rPr>
              <a:t>The risk</a:t>
            </a:r>
          </a:p>
        </p:txBody>
      </p:sp>
      <p:sp>
        <p:nvSpPr>
          <p:cNvPr id="4" name="TextBox 3">
            <a:extLst>
              <a:ext uri="{FF2B5EF4-FFF2-40B4-BE49-F238E27FC236}">
                <a16:creationId xmlns:a16="http://schemas.microsoft.com/office/drawing/2014/main" id="{B65778E2-328D-5B17-D680-93A882FA3A37}"/>
              </a:ext>
            </a:extLst>
          </p:cNvPr>
          <p:cNvSpPr txBox="1"/>
          <p:nvPr/>
        </p:nvSpPr>
        <p:spPr>
          <a:xfrm>
            <a:off x="5199797" y="436728"/>
            <a:ext cx="6362203" cy="5923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dirty="0">
              <a:solidFill>
                <a:srgbClr val="000000"/>
              </a:solidFill>
            </a:endParaRPr>
          </a:p>
        </p:txBody>
      </p:sp>
      <p:sp>
        <p:nvSpPr>
          <p:cNvPr id="5" name="TextBox 4">
            <a:extLst>
              <a:ext uri="{FF2B5EF4-FFF2-40B4-BE49-F238E27FC236}">
                <a16:creationId xmlns:a16="http://schemas.microsoft.com/office/drawing/2014/main" id="{AA57342A-7D9B-4BCF-ED77-56A77BCA3FC3}"/>
              </a:ext>
            </a:extLst>
          </p:cNvPr>
          <p:cNvSpPr txBox="1"/>
          <p:nvPr/>
        </p:nvSpPr>
        <p:spPr>
          <a:xfrm>
            <a:off x="5199797" y="204716"/>
            <a:ext cx="6878472" cy="5977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GB" sz="2800" b="1" dirty="0">
                <a:solidFill>
                  <a:schemeClr val="tx2"/>
                </a:solidFill>
              </a:rPr>
              <a:t>Countries are trying to achieve different things leading to different criteria for success.</a:t>
            </a:r>
            <a:endParaRPr lang="en-GB" sz="2800" dirty="0">
              <a:solidFill>
                <a:schemeClr val="tx2"/>
              </a:solidFill>
            </a:endParaRPr>
          </a:p>
          <a:p>
            <a:pPr marL="342900" indent="-342900">
              <a:buFont typeface="Arial" panose="020B0604020202020204" pitchFamily="34" charset="0"/>
              <a:buChar char="•"/>
            </a:pPr>
            <a:r>
              <a:rPr lang="en-GB" sz="2800" b="1" dirty="0">
                <a:solidFill>
                  <a:schemeClr val="tx2"/>
                </a:solidFill>
              </a:rPr>
              <a:t>Missing how a policy responds to and interacts with context.</a:t>
            </a:r>
          </a:p>
          <a:p>
            <a:pPr marL="342900" indent="-342900">
              <a:buFont typeface="Arial" panose="020B0604020202020204" pitchFamily="34" charset="0"/>
              <a:buChar char="•"/>
            </a:pPr>
            <a:r>
              <a:rPr lang="en-GB" sz="2800" b="1" dirty="0">
                <a:solidFill>
                  <a:schemeClr val="tx2"/>
                </a:solidFill>
              </a:rPr>
              <a:t>Process is often a blind spot – but can influence success.</a:t>
            </a:r>
          </a:p>
        </p:txBody>
      </p:sp>
      <p:pic>
        <p:nvPicPr>
          <p:cNvPr id="3" name="Picture 2">
            <a:extLst>
              <a:ext uri="{FF2B5EF4-FFF2-40B4-BE49-F238E27FC236}">
                <a16:creationId xmlns:a16="http://schemas.microsoft.com/office/drawing/2014/main" id="{9D385286-FAAE-3AF0-449B-2FD702318F87}"/>
              </a:ext>
            </a:extLst>
          </p:cNvPr>
          <p:cNvPicPr>
            <a:picLocks noChangeAspect="1"/>
          </p:cNvPicPr>
          <p:nvPr/>
        </p:nvPicPr>
        <p:blipFill>
          <a:blip r:embed="rId2"/>
          <a:stretch>
            <a:fillRect/>
          </a:stretch>
        </p:blipFill>
        <p:spPr>
          <a:xfrm>
            <a:off x="9129721" y="27295"/>
            <a:ext cx="2948548" cy="984004"/>
          </a:xfrm>
          <a:prstGeom prst="rect">
            <a:avLst/>
          </a:prstGeom>
        </p:spPr>
      </p:pic>
    </p:spTree>
    <p:extLst>
      <p:ext uri="{BB962C8B-B14F-4D97-AF65-F5344CB8AC3E}">
        <p14:creationId xmlns:p14="http://schemas.microsoft.com/office/powerpoint/2010/main" val="3408776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THINKCELLUNDODONOTDELETE" val="0"/>
  <p:tag name="EE4P_STYLE_NAME" val="Centre for Education Systems Grid 16:9"/>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Apto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Aptos&quot; size=&quot;54&quot; bold=&quot;1&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Apto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Aptos&quot; size=&quot;54&quot; bold=&quot;1&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hideSeparatingSlides=&quot;0&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DECKSTER_PRESENTATION_ID" val="d192bf75-7a32-400c-b19e-c86ca5ae661b"/>
  <p:tag name="THINKCELLPRESENTATIONDONOTDELETE" val="&lt;?xml version=&quot;1.0&quot; encoding=&quot;UTF-16&quot; standalone=&quot;yes&quot;?&gt;&lt;root reqver=&quot;28224&quot;&gt;&lt;version val=&quot;357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MASTERWIZARD_MARGINS" val="0"/>
  <p:tag name="EE4P_STYLE_ID" val="WSq3p22i"/>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8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8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8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heme/theme1.xml><?xml version="1.0" encoding="utf-8"?>
<a:theme xmlns:a="http://schemas.openxmlformats.org/drawingml/2006/main" name="Centre for Education Systems Grid 16:9 - 29339">
  <a:themeElements>
    <a:clrScheme name="Custom 1">
      <a:dk1>
        <a:srgbClr val="000000"/>
      </a:dk1>
      <a:lt1>
        <a:srgbClr val="FFFFFF"/>
      </a:lt1>
      <a:dk2>
        <a:srgbClr val="145164"/>
      </a:dk2>
      <a:lt2>
        <a:srgbClr val="F2F2F2"/>
      </a:lt2>
      <a:accent1>
        <a:srgbClr val="0B2D37"/>
      </a:accent1>
      <a:accent2>
        <a:srgbClr val="00B0F0"/>
      </a:accent2>
      <a:accent3>
        <a:srgbClr val="FFC000"/>
      </a:accent3>
      <a:accent4>
        <a:srgbClr val="8ED973"/>
      </a:accent4>
      <a:accent5>
        <a:srgbClr val="9A9A9A"/>
      </a:accent5>
      <a:accent6>
        <a:srgbClr val="E97132"/>
      </a:accent6>
      <a:hlink>
        <a:srgbClr val="CCDE4A"/>
      </a:hlink>
      <a:folHlink>
        <a:srgbClr val="4EA72E"/>
      </a:folHlink>
    </a:clrScheme>
    <a:fontScheme name="Custom 1">
      <a:majorFont>
        <a:latin typeface="Aptos"/>
        <a:ea typeface=""/>
        <a:cs typeface=""/>
      </a:majorFont>
      <a:minorFont>
        <a:latin typeface="Apto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45164"/>
        </a:solidFill>
        <a:ln w="9525" cap="rnd" cmpd="sng" algn="ctr">
          <a:solidFill>
            <a:srgbClr val="145164"/>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Trebuchet MS"/>
        <a:cs typeface="Arial"/>
      </a:majorFont>
      <a:minorFont>
        <a:latin typeface="Trebuchet MS"/>
        <a:ea typeface="Trebuchet MS"/>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Trebuchet MS"/>
        <a:cs typeface="Arial"/>
      </a:majorFont>
      <a:minorFont>
        <a:latin typeface="Trebuchet MS"/>
        <a:ea typeface="Trebuchet MS"/>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1_Centre for Education Systems Grid 16:9 - 29339">
  <a:themeElements>
    <a:clrScheme name="Custom 1">
      <a:dk1>
        <a:srgbClr val="000000"/>
      </a:dk1>
      <a:lt1>
        <a:srgbClr val="FFFFFF"/>
      </a:lt1>
      <a:dk2>
        <a:srgbClr val="145164"/>
      </a:dk2>
      <a:lt2>
        <a:srgbClr val="F2F2F2"/>
      </a:lt2>
      <a:accent1>
        <a:srgbClr val="0B2D37"/>
      </a:accent1>
      <a:accent2>
        <a:srgbClr val="00B0F0"/>
      </a:accent2>
      <a:accent3>
        <a:srgbClr val="FFC000"/>
      </a:accent3>
      <a:accent4>
        <a:srgbClr val="8ED973"/>
      </a:accent4>
      <a:accent5>
        <a:srgbClr val="9A9A9A"/>
      </a:accent5>
      <a:accent6>
        <a:srgbClr val="E97132"/>
      </a:accent6>
      <a:hlink>
        <a:srgbClr val="CCDE4A"/>
      </a:hlink>
      <a:folHlink>
        <a:srgbClr val="4EA72E"/>
      </a:folHlink>
    </a:clrScheme>
    <a:fontScheme name="Custom 1">
      <a:majorFont>
        <a:latin typeface="Aptos"/>
        <a:ea typeface=""/>
        <a:cs typeface=""/>
      </a:majorFont>
      <a:minorFont>
        <a:latin typeface="Apto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45164"/>
        </a:solidFill>
        <a:ln w="9525" cap="rnd" cmpd="sng" algn="ctr">
          <a:solidFill>
            <a:srgbClr val="145164"/>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Centre for Education Systems Grid 16:9 - 29339">
  <a:themeElements>
    <a:clrScheme name="Custom 1">
      <a:dk1>
        <a:srgbClr val="000000"/>
      </a:dk1>
      <a:lt1>
        <a:srgbClr val="FFFFFF"/>
      </a:lt1>
      <a:dk2>
        <a:srgbClr val="145164"/>
      </a:dk2>
      <a:lt2>
        <a:srgbClr val="F2F2F2"/>
      </a:lt2>
      <a:accent1>
        <a:srgbClr val="0B2D37"/>
      </a:accent1>
      <a:accent2>
        <a:srgbClr val="00B0F0"/>
      </a:accent2>
      <a:accent3>
        <a:srgbClr val="FFC000"/>
      </a:accent3>
      <a:accent4>
        <a:srgbClr val="8ED973"/>
      </a:accent4>
      <a:accent5>
        <a:srgbClr val="9A9A9A"/>
      </a:accent5>
      <a:accent6>
        <a:srgbClr val="E97132"/>
      </a:accent6>
      <a:hlink>
        <a:srgbClr val="CCDE4A"/>
      </a:hlink>
      <a:folHlink>
        <a:srgbClr val="4EA72E"/>
      </a:folHlink>
    </a:clrScheme>
    <a:fontScheme name="Custom 1">
      <a:majorFont>
        <a:latin typeface="Aptos"/>
        <a:ea typeface=""/>
        <a:cs typeface=""/>
      </a:majorFont>
      <a:minorFont>
        <a:latin typeface="Apto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45164"/>
        </a:solidFill>
        <a:ln w="9525" cap="rnd" cmpd="sng" algn="ctr">
          <a:solidFill>
            <a:srgbClr val="145164"/>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C1DA43A-653D-4247-89E1-F13CD18D64D5}">
  <we:reference id="1e02f4c4-fc90-4da1-8ab3-b26c44d971ec" version="2.2.0.0" store="EXCatalog" storeType="EXCatalog"/>
  <we:alternateReferences/>
  <we:properties>
    <we:property name="ClientColors" value="&quot;[\&quot;#000000\&quot;,\&quot;#145164\&quot;,\&quot;#0B2D37\&quot;,\&quot;#00B0F0\&quot;,\&quot;#FFC000\&quot;,\&quot;#8ED973\&quot;,\&quot;#9A9A9A\&quot;,\&quot;#E97132\&quot;,\&quot;#00B0F0\&quot;]&quot;"/>
    <we:property name="ThemeElements" value="&quot;{\&quot;colors\&quot;:[\&quot;#000000\&quot;,\&quot;#145164\&quot;,\&quot;#0B2D37\&quot;,\&quot;#00B0F0\&quot;,\&quot;#FFC000\&quot;,\&quot;#8ED973\&quot;,\&quot;#9A9A9A\&quot;,\&quot;#E97132\&quot;,\&quot;#00B0F0\&quot;],\&quot;fonts\&quot;:[\&quot;Aptos\&quot;]}&quot;"/>
    <we:property name="ClientFonts" value="&quot;[\&quot;Aptos\&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53cb93d-a470-443f-bb07-080ab94c18b1">
      <Terms xmlns="http://schemas.microsoft.com/office/infopath/2007/PartnerControls"/>
    </lcf76f155ced4ddcb4097134ff3c332f>
    <TaxCatchAll xmlns="a859ca97-feaf-4272-875d-1c0a7ac5c8f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3BF54956C86C543918A06B6600C35EC" ma:contentTypeVersion="10" ma:contentTypeDescription="Create a new document." ma:contentTypeScope="" ma:versionID="45e7c5ecd0d500651507c6140c8f59c1">
  <xsd:schema xmlns:xsd="http://www.w3.org/2001/XMLSchema" xmlns:xs="http://www.w3.org/2001/XMLSchema" xmlns:p="http://schemas.microsoft.com/office/2006/metadata/properties" xmlns:ns2="e53cb93d-a470-443f-bb07-080ab94c18b1" xmlns:ns3="a859ca97-feaf-4272-875d-1c0a7ac5c8f2" targetNamespace="http://schemas.microsoft.com/office/2006/metadata/properties" ma:root="true" ma:fieldsID="986582167c639502bb9866bf77775639" ns2:_="" ns3:_="">
    <xsd:import namespace="e53cb93d-a470-443f-bb07-080ab94c18b1"/>
    <xsd:import namespace="a859ca97-feaf-4272-875d-1c0a7ac5c8f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3cb93d-a470-443f-bb07-080ab94c18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59ca97-feaf-4272-875d-1c0a7ac5c8f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5fd3c3c-658c-4f83-849d-c0acd96838f7}" ma:internalName="TaxCatchAll" ma:showField="CatchAllData" ma:web="a859ca97-feaf-4272-875d-1c0a7ac5c8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417DE3-E312-48C7-B168-E7DB0A5B6D89}">
  <ds:schemaRefs>
    <ds:schemaRef ds:uri="http://schemas.microsoft.com/office/2006/metadata/properties"/>
    <ds:schemaRef ds:uri="a859ca97-feaf-4272-875d-1c0a7ac5c8f2"/>
    <ds:schemaRef ds:uri="http://purl.org/dc/dcmitype/"/>
    <ds:schemaRef ds:uri="http://schemas.microsoft.com/office/infopath/2007/PartnerControls"/>
    <ds:schemaRef ds:uri="http://schemas.microsoft.com/office/2006/documentManagement/types"/>
    <ds:schemaRef ds:uri="http://purl.org/dc/elements/1.1/"/>
    <ds:schemaRef ds:uri="e53cb93d-a470-443f-bb07-080ab94c18b1"/>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3ABF9A46-964F-41A1-8FFE-DBEC21B53C97}">
  <ds:schemaRefs>
    <ds:schemaRef ds:uri="http://schemas.microsoft.com/sharepoint/v3/contenttype/forms"/>
  </ds:schemaRefs>
</ds:datastoreItem>
</file>

<file path=customXml/itemProps3.xml><?xml version="1.0" encoding="utf-8"?>
<ds:datastoreItem xmlns:ds="http://schemas.openxmlformats.org/officeDocument/2006/customXml" ds:itemID="{A8A8D86E-A527-4B54-A807-6610796F35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3cb93d-a470-443f-bb07-080ab94c18b1"/>
    <ds:schemaRef ds:uri="a859ca97-feaf-4272-875d-1c0a7ac5c8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290</TotalTime>
  <Words>1842</Words>
  <Application>Microsoft Macintosh PowerPoint</Application>
  <PresentationFormat>Widescreen</PresentationFormat>
  <Paragraphs>298</Paragraphs>
  <Slides>26</Slides>
  <Notes>6</Notes>
  <HiddenSlides>0</HiddenSlides>
  <MMClips>0</MMClips>
  <ScaleCrop>false</ScaleCrop>
  <HeadingPairs>
    <vt:vector size="10"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26</vt:i4>
      </vt:variant>
      <vt:variant>
        <vt:lpstr>Custom Shows</vt:lpstr>
      </vt:variant>
      <vt:variant>
        <vt:i4>1</vt:i4>
      </vt:variant>
    </vt:vector>
  </HeadingPairs>
  <TitlesOfParts>
    <vt:vector size="37" baseType="lpstr">
      <vt:lpstr>Aptos</vt:lpstr>
      <vt:lpstr>Arial</vt:lpstr>
      <vt:lpstr>Open Sans</vt:lpstr>
      <vt:lpstr>Trebuchet MS</vt:lpstr>
      <vt:lpstr>Centre for Education Systems Grid 16:9 - 29339</vt:lpstr>
      <vt:lpstr>BCG Grid 16:9</vt:lpstr>
      <vt:lpstr>1_BCG Grid 16:9</vt:lpstr>
      <vt:lpstr>1_Centre for Education Systems Grid 16:9 - 29339</vt:lpstr>
      <vt:lpstr>2_Centre for Education Systems Grid 16:9 - 29339</vt:lpstr>
      <vt:lpstr>think-cell Slide</vt:lpstr>
      <vt:lpstr>PowerPoint Presentation</vt:lpstr>
      <vt:lpstr>PowerPoint Presentation</vt:lpstr>
      <vt:lpstr>     Four typical weaknesses in cross-jurisdictional policy learning</vt:lpstr>
      <vt:lpstr>Which countries?</vt:lpstr>
      <vt:lpstr>The risk</vt:lpstr>
      <vt:lpstr>PowerPoint Presentation</vt:lpstr>
      <vt:lpstr>Country selection</vt:lpstr>
      <vt:lpstr>Sensitivity to purpose, context and process</vt:lpstr>
      <vt:lpstr>The risk</vt:lpstr>
      <vt:lpstr>      Research Questions</vt:lpstr>
      <vt:lpstr>ACCOUNTABILITY | Policies are generally designed to realise a combination of 6 core aims</vt:lpstr>
      <vt:lpstr>ACCOUNTABILITY | Context influences priorities and therefore policy design</vt:lpstr>
      <vt:lpstr>ACCOUNTABILITY | Context influences policy effects</vt:lpstr>
      <vt:lpstr>PowerPoint Presentation</vt:lpstr>
      <vt:lpstr>Interactions between and within policies </vt:lpstr>
      <vt:lpstr>The risk</vt:lpstr>
      <vt:lpstr>Curriculum policy | Policy interactions</vt:lpstr>
      <vt:lpstr>PowerPoint Presentation</vt:lpstr>
      <vt:lpstr>PowerPoint Presentation</vt:lpstr>
      <vt:lpstr>‘What works’ v. ‘what happens’ </vt:lpstr>
      <vt:lpstr>The risk</vt:lpstr>
      <vt:lpstr>Alternative approaches to accountability |’Chain of command’  </vt:lpstr>
      <vt:lpstr>Alternative approaches to accountability | ‘Polycentric accountability’  </vt:lpstr>
      <vt:lpstr>Accountability:  Seven main intended ways of generating improvement…</vt:lpstr>
      <vt:lpstr>PowerPoint Presentation</vt:lpstr>
      <vt:lpstr>All CES reports (including curriculum, accountability, special educational needs + intersections) available at: www.ces.partners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NGELA LUCIANA BELLIDO GONZALES</cp:lastModifiedBy>
  <cp:revision>26</cp:revision>
  <cp:lastPrinted>2026-01-23T10:02:03Z</cp:lastPrinted>
  <dcterms:created xsi:type="dcterms:W3CDTF">2025-10-16T14:24:20Z</dcterms:created>
  <dcterms:modified xsi:type="dcterms:W3CDTF">2026-03-30T21:3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10-16T17:33:21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e63699e8-30c1-4da0-8dc0-c21c5470ddab</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y fmtid="{D5CDD505-2E9C-101B-9397-08002B2CF9AE}" pid="15" name="ContentTypeId">
    <vt:lpwstr>0x010100A3BF54956C86C543918A06B6600C35EC</vt:lpwstr>
  </property>
  <property fmtid="{D5CDD505-2E9C-101B-9397-08002B2CF9AE}" pid="16" name="MediaServiceImageTags">
    <vt:lpwstr/>
  </property>
</Properties>
</file>